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8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21.xml" ContentType="application/vnd.openxmlformats-officedocument.drawingml.chart+xml"/>
  <Override PartName="/ppt/theme/themeOverride3.xml" ContentType="application/vnd.openxmlformats-officedocument.themeOverride+xml"/>
  <Override PartName="/ppt/charts/chart22.xml" ContentType="application/vnd.openxmlformats-officedocument.drawingml.chart+xml"/>
  <Override PartName="/ppt/theme/themeOverride4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1.xml" ContentType="application/vnd.openxmlformats-officedocument.drawingml.chartshapes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2.xml" ContentType="application/vnd.openxmlformats-officedocument.drawingml.chartshape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3.xml" ContentType="application/vnd.openxmlformats-officedocument.drawingml.chartshapes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drawings/drawing4.xml" ContentType="application/vnd.openxmlformats-officedocument.drawingml.chartshapes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5.xml" ContentType="application/vnd.openxmlformats-officedocument.drawingml.chartshapes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drawings/drawing6.xml" ContentType="application/vnd.openxmlformats-officedocument.drawingml.chartshapes+xml"/>
  <Override PartName="/ppt/charts/chart3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drawings/drawing7.xml" ContentType="application/vnd.openxmlformats-officedocument.drawingml.chartshapes+xml"/>
  <Override PartName="/ppt/charts/chart3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drawings/drawing8.xml" ContentType="application/vnd.openxmlformats-officedocument.drawingml.chartshapes+xml"/>
  <Override PartName="/ppt/charts/chart3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drawings/drawing9.xml" ContentType="application/vnd.openxmlformats-officedocument.drawingml.chartshapes+xml"/>
  <Override PartName="/ppt/charts/chart36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1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9" r:id="rId1"/>
    <p:sldMasterId id="2147483705" r:id="rId2"/>
    <p:sldMasterId id="2147483740" r:id="rId3"/>
    <p:sldMasterId id="2147483776" r:id="rId4"/>
    <p:sldMasterId id="2147483952" r:id="rId5"/>
    <p:sldMasterId id="2147483970" r:id="rId6"/>
    <p:sldMasterId id="2147484105" r:id="rId7"/>
    <p:sldMasterId id="2147484111" r:id="rId8"/>
    <p:sldMasterId id="2147484122" r:id="rId9"/>
    <p:sldMasterId id="2147484133" r:id="rId10"/>
  </p:sldMasterIdLst>
  <p:notesMasterIdLst>
    <p:notesMasterId r:id="rId58"/>
  </p:notesMasterIdLst>
  <p:sldIdLst>
    <p:sldId id="4577" r:id="rId11"/>
    <p:sldId id="4578" r:id="rId12"/>
    <p:sldId id="4864" r:id="rId13"/>
    <p:sldId id="4615" r:id="rId14"/>
    <p:sldId id="2327" r:id="rId15"/>
    <p:sldId id="4865" r:id="rId16"/>
    <p:sldId id="4880" r:id="rId17"/>
    <p:sldId id="2119" r:id="rId18"/>
    <p:sldId id="4934" r:id="rId19"/>
    <p:sldId id="4935" r:id="rId20"/>
    <p:sldId id="2299" r:id="rId21"/>
    <p:sldId id="4928" r:id="rId22"/>
    <p:sldId id="4929" r:id="rId23"/>
    <p:sldId id="4734" r:id="rId24"/>
    <p:sldId id="1482" r:id="rId25"/>
    <p:sldId id="4933" r:id="rId26"/>
    <p:sldId id="4936" r:id="rId27"/>
    <p:sldId id="2219" r:id="rId28"/>
    <p:sldId id="4877" r:id="rId29"/>
    <p:sldId id="4878" r:id="rId30"/>
    <p:sldId id="4879" r:id="rId31"/>
    <p:sldId id="4881" r:id="rId32"/>
    <p:sldId id="4736" r:id="rId33"/>
    <p:sldId id="4739" r:id="rId34"/>
    <p:sldId id="4522" r:id="rId35"/>
    <p:sldId id="4740" r:id="rId36"/>
    <p:sldId id="4634" r:id="rId37"/>
    <p:sldId id="4897" r:id="rId38"/>
    <p:sldId id="4898" r:id="rId39"/>
    <p:sldId id="4899" r:id="rId40"/>
    <p:sldId id="4587" r:id="rId41"/>
    <p:sldId id="4710" r:id="rId42"/>
    <p:sldId id="4579" r:id="rId43"/>
    <p:sldId id="4712" r:id="rId44"/>
    <p:sldId id="4647" r:id="rId45"/>
    <p:sldId id="4937" r:id="rId46"/>
    <p:sldId id="1192" r:id="rId47"/>
    <p:sldId id="1241" r:id="rId48"/>
    <p:sldId id="1211" r:id="rId49"/>
    <p:sldId id="4376" r:id="rId50"/>
    <p:sldId id="1213" r:id="rId51"/>
    <p:sldId id="4379" r:id="rId52"/>
    <p:sldId id="1215" r:id="rId53"/>
    <p:sldId id="4441" r:id="rId54"/>
    <p:sldId id="4443" r:id="rId55"/>
    <p:sldId id="4444" r:id="rId56"/>
    <p:sldId id="4938" r:id="rId57"/>
  </p:sldIdLst>
  <p:sldSz cx="12192000" cy="6858000"/>
  <p:notesSz cx="6858000" cy="9144000"/>
  <p:embeddedFontLst>
    <p:embeddedFont>
      <p:font typeface="Calibri" panose="020F0502020204030204" pitchFamily="34" charset="0"/>
      <p:regular r:id="rId59"/>
      <p:bold r:id="rId59"/>
      <p:italic r:id="rId59"/>
      <p:boldItalic r:id="rId59"/>
    </p:embeddedFont>
    <p:embeddedFont>
      <p:font typeface="Calibri Light" panose="020F0302020204030204" pitchFamily="34" charset="0"/>
      <p:regular r:id="rId59"/>
      <p:italic r:id="rId59"/>
    </p:embeddedFont>
    <p:embeddedFont>
      <p:font typeface="Tw Cen MT" panose="020B0602020104020603" pitchFamily="34" charset="-18"/>
      <p:regular r:id="rId60"/>
      <p:bold r:id="rId61"/>
      <p:italic r:id="rId62"/>
      <p:boldItalic r:id="rId63"/>
    </p:embeddedFont>
    <p:embeddedFont>
      <p:font typeface="Tw Cen MT Condensed" panose="020B0606020104020203" pitchFamily="34" charset="-18"/>
      <p:regular r:id="rId64"/>
      <p:bold r:id="rId65"/>
    </p:embeddedFont>
    <p:embeddedFont>
      <p:font typeface="Wingdings 3" panose="05040102010807070707" pitchFamily="18" charset="2"/>
      <p:regular r:id="rId66"/>
    </p:embeddedFont>
  </p:embeddedFontLst>
  <p:custDataLst>
    <p:tags r:id="rId6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1CE8A60F-7C29-4AF4-8F24-5686833EB6C1}">
          <p14:sldIdLst>
            <p14:sldId id="4577"/>
            <p14:sldId id="4578"/>
            <p14:sldId id="4864"/>
            <p14:sldId id="4615"/>
            <p14:sldId id="2327"/>
            <p14:sldId id="4865"/>
            <p14:sldId id="4880"/>
            <p14:sldId id="2119"/>
            <p14:sldId id="4934"/>
            <p14:sldId id="4935"/>
            <p14:sldId id="2299"/>
            <p14:sldId id="4928"/>
            <p14:sldId id="4929"/>
            <p14:sldId id="4734"/>
            <p14:sldId id="1482"/>
            <p14:sldId id="4933"/>
            <p14:sldId id="4936"/>
            <p14:sldId id="2219"/>
            <p14:sldId id="4877"/>
            <p14:sldId id="4878"/>
            <p14:sldId id="4879"/>
            <p14:sldId id="4881"/>
            <p14:sldId id="4736"/>
            <p14:sldId id="4739"/>
            <p14:sldId id="4522"/>
            <p14:sldId id="4740"/>
            <p14:sldId id="4634"/>
            <p14:sldId id="4897"/>
            <p14:sldId id="4898"/>
            <p14:sldId id="4899"/>
            <p14:sldId id="4587"/>
            <p14:sldId id="4710"/>
            <p14:sldId id="4579"/>
            <p14:sldId id="4712"/>
            <p14:sldId id="4647"/>
            <p14:sldId id="4937"/>
            <p14:sldId id="1192"/>
            <p14:sldId id="1241"/>
            <p14:sldId id="1211"/>
            <p14:sldId id="4376"/>
            <p14:sldId id="1213"/>
            <p14:sldId id="4379"/>
            <p14:sldId id="1215"/>
            <p14:sldId id="4441"/>
            <p14:sldId id="4443"/>
            <p14:sldId id="4444"/>
            <p14:sldId id="49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2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  <p:cmAuthor id="2" name="Žofka Jan Mgr. Ing." initials="ŽJMI" lastIdx="1" clrIdx="1">
    <p:extLst>
      <p:ext uri="{19B8F6BF-5375-455C-9EA6-DF929625EA0E}">
        <p15:presenceInfo xmlns:p15="http://schemas.microsoft.com/office/powerpoint/2012/main" userId="S::zofkaj@mzcr.cz::47242822-da23-458e-81a5-68dba5d2ccc4" providerId="AD"/>
      </p:ext>
    </p:extLst>
  </p:cmAuthor>
  <p:cmAuthor id="3" name="Klechová Anna Mgr." initials="KAM" lastIdx="1" clrIdx="2">
    <p:extLst>
      <p:ext uri="{19B8F6BF-5375-455C-9EA6-DF929625EA0E}">
        <p15:presenceInfo xmlns:p15="http://schemas.microsoft.com/office/powerpoint/2012/main" userId="S::klechovaa@mzcr.cz::18e63089-be75-4ea6-a181-0f9874957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983"/>
    <a:srgbClr val="C00000"/>
    <a:srgbClr val="FFC000"/>
    <a:srgbClr val="FFFF66"/>
    <a:srgbClr val="E654FE"/>
    <a:srgbClr val="00FF00"/>
    <a:srgbClr val="0000FF"/>
    <a:srgbClr val="FEDADA"/>
    <a:srgbClr val="FAA0A0"/>
    <a:srgbClr val="F5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35" autoAdjust="0"/>
    <p:restoredTop sz="95111" autoAdjust="0"/>
  </p:normalViewPr>
  <p:slideViewPr>
    <p:cSldViewPr snapToGrid="0">
      <p:cViewPr varScale="1">
        <p:scale>
          <a:sx n="62" d="100"/>
          <a:sy n="62" d="100"/>
        </p:scale>
        <p:origin x="732" y="66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1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63" Type="http://schemas.openxmlformats.org/officeDocument/2006/relationships/font" Target="fonts/font4.fntdata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notesMaster" Target="notesMasters/notesMaster1.xml"/><Relationship Id="rId66" Type="http://schemas.openxmlformats.org/officeDocument/2006/relationships/font" Target="fonts/font7.fntdata"/><Relationship Id="rId5" Type="http://schemas.openxmlformats.org/officeDocument/2006/relationships/slideMaster" Target="slideMasters/slideMaster5.xml"/><Relationship Id="rId61" Type="http://schemas.openxmlformats.org/officeDocument/2006/relationships/font" Target="fonts/font2.fntdata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font" Target="fonts/font5.fntdata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font" Target="NULL"/><Relationship Id="rId67" Type="http://schemas.openxmlformats.org/officeDocument/2006/relationships/tags" Target="tags/tag1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font" Target="fonts/font3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font" Target="fonts/font1.fntdata"/><Relationship Id="rId65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3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4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1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2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3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chartUserShapes" Target="../drawings/drawing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chartUserShapes" Target="../drawings/drawing6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chartUserShapes" Target="../drawings/drawing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chartUserShapes" Target="../drawings/drawing8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chartUserShapes" Target="../drawings/drawing9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046398297599972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3:$A$255</c:f>
              <c:numCache>
                <c:formatCode>m/d/yyyy</c:formatCode>
                <c:ptCount val="133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  <c:pt idx="94">
                  <c:v>44625</c:v>
                </c:pt>
                <c:pt idx="95">
                  <c:v>44626</c:v>
                </c:pt>
                <c:pt idx="96">
                  <c:v>44627</c:v>
                </c:pt>
                <c:pt idx="97">
                  <c:v>44628</c:v>
                </c:pt>
                <c:pt idx="98">
                  <c:v>44629</c:v>
                </c:pt>
                <c:pt idx="99">
                  <c:v>44630</c:v>
                </c:pt>
                <c:pt idx="100">
                  <c:v>44631</c:v>
                </c:pt>
                <c:pt idx="101">
                  <c:v>44632</c:v>
                </c:pt>
                <c:pt idx="102">
                  <c:v>44633</c:v>
                </c:pt>
                <c:pt idx="103">
                  <c:v>44634</c:v>
                </c:pt>
                <c:pt idx="104">
                  <c:v>44635</c:v>
                </c:pt>
                <c:pt idx="105">
                  <c:v>44636</c:v>
                </c:pt>
                <c:pt idx="106">
                  <c:v>44637</c:v>
                </c:pt>
                <c:pt idx="107">
                  <c:v>44638</c:v>
                </c:pt>
                <c:pt idx="108">
                  <c:v>44639</c:v>
                </c:pt>
                <c:pt idx="109">
                  <c:v>44640</c:v>
                </c:pt>
                <c:pt idx="110">
                  <c:v>44641</c:v>
                </c:pt>
                <c:pt idx="111">
                  <c:v>44642</c:v>
                </c:pt>
                <c:pt idx="112">
                  <c:v>44643</c:v>
                </c:pt>
                <c:pt idx="113">
                  <c:v>44644</c:v>
                </c:pt>
                <c:pt idx="114">
                  <c:v>44645</c:v>
                </c:pt>
                <c:pt idx="115">
                  <c:v>44646</c:v>
                </c:pt>
                <c:pt idx="116">
                  <c:v>44647</c:v>
                </c:pt>
                <c:pt idx="117">
                  <c:v>44648</c:v>
                </c:pt>
                <c:pt idx="118">
                  <c:v>44649</c:v>
                </c:pt>
                <c:pt idx="119">
                  <c:v>44650</c:v>
                </c:pt>
                <c:pt idx="120">
                  <c:v>44651</c:v>
                </c:pt>
                <c:pt idx="121">
                  <c:v>44652</c:v>
                </c:pt>
                <c:pt idx="122">
                  <c:v>44653</c:v>
                </c:pt>
                <c:pt idx="123">
                  <c:v>44654</c:v>
                </c:pt>
                <c:pt idx="124">
                  <c:v>44655</c:v>
                </c:pt>
                <c:pt idx="125">
                  <c:v>44656</c:v>
                </c:pt>
                <c:pt idx="126">
                  <c:v>44657</c:v>
                </c:pt>
                <c:pt idx="127">
                  <c:v>44658</c:v>
                </c:pt>
                <c:pt idx="128">
                  <c:v>44659</c:v>
                </c:pt>
                <c:pt idx="129">
                  <c:v>44660</c:v>
                </c:pt>
                <c:pt idx="130">
                  <c:v>44661</c:v>
                </c:pt>
                <c:pt idx="131">
                  <c:v>44662</c:v>
                </c:pt>
                <c:pt idx="132">
                  <c:v>44663</c:v>
                </c:pt>
              </c:numCache>
            </c:numRef>
          </c:cat>
          <c:val>
            <c:numRef>
              <c:f>Sheet1!$B$123:$B$255</c:f>
              <c:numCache>
                <c:formatCode>General</c:formatCode>
                <c:ptCount val="133"/>
                <c:pt idx="0">
                  <c:v>21155</c:v>
                </c:pt>
                <c:pt idx="1">
                  <c:v>18629</c:v>
                </c:pt>
                <c:pt idx="2">
                  <c:v>17686</c:v>
                </c:pt>
                <c:pt idx="3">
                  <c:v>10982</c:v>
                </c:pt>
                <c:pt idx="4">
                  <c:v>6335</c:v>
                </c:pt>
                <c:pt idx="5">
                  <c:v>15582</c:v>
                </c:pt>
                <c:pt idx="6">
                  <c:v>19539</c:v>
                </c:pt>
                <c:pt idx="7">
                  <c:v>16209</c:v>
                </c:pt>
                <c:pt idx="8">
                  <c:v>14266</c:v>
                </c:pt>
                <c:pt idx="9">
                  <c:v>12401</c:v>
                </c:pt>
                <c:pt idx="10">
                  <c:v>9086</c:v>
                </c:pt>
                <c:pt idx="11">
                  <c:v>4129</c:v>
                </c:pt>
                <c:pt idx="12">
                  <c:v>11907</c:v>
                </c:pt>
                <c:pt idx="13">
                  <c:v>16709</c:v>
                </c:pt>
                <c:pt idx="14">
                  <c:v>11618</c:v>
                </c:pt>
                <c:pt idx="15">
                  <c:v>9501</c:v>
                </c:pt>
                <c:pt idx="16">
                  <c:v>8962</c:v>
                </c:pt>
                <c:pt idx="17">
                  <c:v>5985</c:v>
                </c:pt>
                <c:pt idx="18">
                  <c:v>3745</c:v>
                </c:pt>
                <c:pt idx="19">
                  <c:v>8600</c:v>
                </c:pt>
                <c:pt idx="20">
                  <c:v>11846</c:v>
                </c:pt>
                <c:pt idx="21">
                  <c:v>7696</c:v>
                </c:pt>
                <c:pt idx="22">
                  <c:v>7363</c:v>
                </c:pt>
                <c:pt idx="23">
                  <c:v>2046</c:v>
                </c:pt>
                <c:pt idx="24">
                  <c:v>1090</c:v>
                </c:pt>
                <c:pt idx="25">
                  <c:v>2015</c:v>
                </c:pt>
                <c:pt idx="26">
                  <c:v>6864</c:v>
                </c:pt>
                <c:pt idx="27">
                  <c:v>9078</c:v>
                </c:pt>
                <c:pt idx="28">
                  <c:v>6162</c:v>
                </c:pt>
                <c:pt idx="29">
                  <c:v>5756</c:v>
                </c:pt>
                <c:pt idx="30">
                  <c:v>4998</c:v>
                </c:pt>
                <c:pt idx="31">
                  <c:v>1093</c:v>
                </c:pt>
                <c:pt idx="32">
                  <c:v>1931</c:v>
                </c:pt>
                <c:pt idx="33">
                  <c:v>9359</c:v>
                </c:pt>
                <c:pt idx="34">
                  <c:v>10180</c:v>
                </c:pt>
                <c:pt idx="35">
                  <c:v>7390</c:v>
                </c:pt>
                <c:pt idx="36">
                  <c:v>6641</c:v>
                </c:pt>
                <c:pt idx="37">
                  <c:v>6675</c:v>
                </c:pt>
                <c:pt idx="38">
                  <c:v>3963</c:v>
                </c:pt>
                <c:pt idx="39">
                  <c:v>2764</c:v>
                </c:pt>
                <c:pt idx="40">
                  <c:v>7362</c:v>
                </c:pt>
                <c:pt idx="41">
                  <c:v>12378</c:v>
                </c:pt>
                <c:pt idx="42">
                  <c:v>11469</c:v>
                </c:pt>
                <c:pt idx="43">
                  <c:v>11693</c:v>
                </c:pt>
                <c:pt idx="44">
                  <c:v>13230</c:v>
                </c:pt>
                <c:pt idx="45">
                  <c:v>9293</c:v>
                </c:pt>
                <c:pt idx="46">
                  <c:v>7246</c:v>
                </c:pt>
                <c:pt idx="47">
                  <c:v>20311</c:v>
                </c:pt>
                <c:pt idx="48">
                  <c:v>28504</c:v>
                </c:pt>
                <c:pt idx="49">
                  <c:v>26024</c:v>
                </c:pt>
                <c:pt idx="50">
                  <c:v>26941</c:v>
                </c:pt>
                <c:pt idx="51">
                  <c:v>26632</c:v>
                </c:pt>
                <c:pt idx="52">
                  <c:v>18359</c:v>
                </c:pt>
                <c:pt idx="53">
                  <c:v>12903</c:v>
                </c:pt>
                <c:pt idx="54">
                  <c:v>30397</c:v>
                </c:pt>
                <c:pt idx="55">
                  <c:v>39640</c:v>
                </c:pt>
                <c:pt idx="56">
                  <c:v>54703</c:v>
                </c:pt>
                <c:pt idx="57">
                  <c:v>34819</c:v>
                </c:pt>
                <c:pt idx="58">
                  <c:v>47276</c:v>
                </c:pt>
                <c:pt idx="59">
                  <c:v>18288</c:v>
                </c:pt>
                <c:pt idx="60">
                  <c:v>23942</c:v>
                </c:pt>
                <c:pt idx="61">
                  <c:v>29557</c:v>
                </c:pt>
                <c:pt idx="62">
                  <c:v>57244</c:v>
                </c:pt>
                <c:pt idx="63">
                  <c:v>43341</c:v>
                </c:pt>
                <c:pt idx="64">
                  <c:v>37692</c:v>
                </c:pt>
                <c:pt idx="65">
                  <c:v>28729</c:v>
                </c:pt>
                <c:pt idx="66">
                  <c:v>24009</c:v>
                </c:pt>
                <c:pt idx="67">
                  <c:v>9071</c:v>
                </c:pt>
                <c:pt idx="68">
                  <c:v>29630</c:v>
                </c:pt>
                <c:pt idx="69">
                  <c:v>37805</c:v>
                </c:pt>
                <c:pt idx="70">
                  <c:v>29054</c:v>
                </c:pt>
                <c:pt idx="71">
                  <c:v>22672</c:v>
                </c:pt>
                <c:pt idx="72">
                  <c:v>22143</c:v>
                </c:pt>
                <c:pt idx="73">
                  <c:v>10954</c:v>
                </c:pt>
                <c:pt idx="74">
                  <c:v>7194</c:v>
                </c:pt>
                <c:pt idx="75">
                  <c:v>19482</c:v>
                </c:pt>
                <c:pt idx="76">
                  <c:v>28287</c:v>
                </c:pt>
                <c:pt idx="77">
                  <c:v>16995</c:v>
                </c:pt>
                <c:pt idx="78">
                  <c:v>15528</c:v>
                </c:pt>
                <c:pt idx="79">
                  <c:v>13775</c:v>
                </c:pt>
                <c:pt idx="80">
                  <c:v>8223</c:v>
                </c:pt>
                <c:pt idx="81">
                  <c:v>4272</c:v>
                </c:pt>
                <c:pt idx="82">
                  <c:v>13458</c:v>
                </c:pt>
                <c:pt idx="83">
                  <c:v>14213</c:v>
                </c:pt>
                <c:pt idx="84">
                  <c:v>11212</c:v>
                </c:pt>
                <c:pt idx="85">
                  <c:v>10036</c:v>
                </c:pt>
                <c:pt idx="86">
                  <c:v>9120</c:v>
                </c:pt>
                <c:pt idx="87">
                  <c:v>5592</c:v>
                </c:pt>
                <c:pt idx="88">
                  <c:v>3326</c:v>
                </c:pt>
                <c:pt idx="89">
                  <c:v>10165</c:v>
                </c:pt>
                <c:pt idx="90">
                  <c:v>11630</c:v>
                </c:pt>
                <c:pt idx="91">
                  <c:v>8970</c:v>
                </c:pt>
                <c:pt idx="92">
                  <c:v>8080</c:v>
                </c:pt>
                <c:pt idx="93">
                  <c:v>8258</c:v>
                </c:pt>
                <c:pt idx="94">
                  <c:v>4564</c:v>
                </c:pt>
                <c:pt idx="95">
                  <c:v>2574</c:v>
                </c:pt>
                <c:pt idx="96">
                  <c:v>10476</c:v>
                </c:pt>
                <c:pt idx="97">
                  <c:v>10493</c:v>
                </c:pt>
                <c:pt idx="98">
                  <c:v>9091</c:v>
                </c:pt>
                <c:pt idx="99">
                  <c:v>8243</c:v>
                </c:pt>
                <c:pt idx="100">
                  <c:v>8357</c:v>
                </c:pt>
                <c:pt idx="101">
                  <c:v>4425</c:v>
                </c:pt>
                <c:pt idx="102">
                  <c:v>2751</c:v>
                </c:pt>
                <c:pt idx="103">
                  <c:v>10821</c:v>
                </c:pt>
                <c:pt idx="104">
                  <c:v>10715</c:v>
                </c:pt>
                <c:pt idx="105">
                  <c:v>8551</c:v>
                </c:pt>
                <c:pt idx="106">
                  <c:v>8155</c:v>
                </c:pt>
                <c:pt idx="107">
                  <c:v>8715</c:v>
                </c:pt>
                <c:pt idx="108">
                  <c:v>4788</c:v>
                </c:pt>
                <c:pt idx="109">
                  <c:v>2276</c:v>
                </c:pt>
                <c:pt idx="110">
                  <c:v>10420</c:v>
                </c:pt>
                <c:pt idx="111">
                  <c:v>10490</c:v>
                </c:pt>
                <c:pt idx="112">
                  <c:v>8477</c:v>
                </c:pt>
                <c:pt idx="113">
                  <c:v>7115</c:v>
                </c:pt>
                <c:pt idx="114">
                  <c:v>7546</c:v>
                </c:pt>
                <c:pt idx="115">
                  <c:v>3520</c:v>
                </c:pt>
                <c:pt idx="116">
                  <c:v>2245</c:v>
                </c:pt>
                <c:pt idx="117">
                  <c:v>8809</c:v>
                </c:pt>
                <c:pt idx="118">
                  <c:v>8910</c:v>
                </c:pt>
                <c:pt idx="119">
                  <c:v>7390</c:v>
                </c:pt>
                <c:pt idx="120">
                  <c:v>6484</c:v>
                </c:pt>
                <c:pt idx="121">
                  <c:v>5976</c:v>
                </c:pt>
                <c:pt idx="122">
                  <c:v>2590</c:v>
                </c:pt>
                <c:pt idx="123">
                  <c:v>1657</c:v>
                </c:pt>
                <c:pt idx="124">
                  <c:v>6553</c:v>
                </c:pt>
                <c:pt idx="125">
                  <c:v>6701</c:v>
                </c:pt>
                <c:pt idx="126">
                  <c:v>5286</c:v>
                </c:pt>
                <c:pt idx="127">
                  <c:v>4982</c:v>
                </c:pt>
                <c:pt idx="128" formatCode="[$-10409]#\ ##0;\(#\ ##0\)">
                  <c:v>4132</c:v>
                </c:pt>
                <c:pt idx="129" formatCode="[$-10409]#\ ##0;\(#\ ##0\)">
                  <c:v>2250</c:v>
                </c:pt>
                <c:pt idx="130" formatCode="[$-10409]#\ ##0;\(#\ ##0\)">
                  <c:v>1396</c:v>
                </c:pt>
                <c:pt idx="131" formatCode="[$-10409]#\ ##0;\(#\ ##0\)">
                  <c:v>4735</c:v>
                </c:pt>
                <c:pt idx="132" formatCode="[$-10409]#\ ##0;\(#\ ##0\)">
                  <c:v>4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  <c:min val="44532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2.098150488604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10.21</c:v>
                </c:pt>
                <c:pt idx="1">
                  <c:v>09.10.21</c:v>
                </c:pt>
                <c:pt idx="2">
                  <c:v>10.10.21</c:v>
                </c:pt>
                <c:pt idx="3">
                  <c:v>11.10.21</c:v>
                </c:pt>
                <c:pt idx="4">
                  <c:v>12.10.21</c:v>
                </c:pt>
                <c:pt idx="5">
                  <c:v>13.10.21</c:v>
                </c:pt>
                <c:pt idx="6">
                  <c:v>14.10.21</c:v>
                </c:pt>
                <c:pt idx="7">
                  <c:v>15.10.21</c:v>
                </c:pt>
                <c:pt idx="8">
                  <c:v>16.10.21</c:v>
                </c:pt>
                <c:pt idx="9">
                  <c:v>17.10.21</c:v>
                </c:pt>
                <c:pt idx="10">
                  <c:v>18.10.21</c:v>
                </c:pt>
                <c:pt idx="11">
                  <c:v>19.10.21</c:v>
                </c:pt>
                <c:pt idx="12">
                  <c:v>20.10.21</c:v>
                </c:pt>
                <c:pt idx="13">
                  <c:v>21.10.21</c:v>
                </c:pt>
                <c:pt idx="14">
                  <c:v>22.10.21</c:v>
                </c:pt>
                <c:pt idx="15">
                  <c:v>23.10.21</c:v>
                </c:pt>
                <c:pt idx="16">
                  <c:v>24.10.21</c:v>
                </c:pt>
                <c:pt idx="17">
                  <c:v>25.10.21</c:v>
                </c:pt>
                <c:pt idx="18">
                  <c:v>26.10.21</c:v>
                </c:pt>
                <c:pt idx="19">
                  <c:v>27.10.21</c:v>
                </c:pt>
                <c:pt idx="20">
                  <c:v>28.10.21</c:v>
                </c:pt>
                <c:pt idx="21">
                  <c:v>29.10.21</c:v>
                </c:pt>
                <c:pt idx="22">
                  <c:v>30.10.21</c:v>
                </c:pt>
                <c:pt idx="23">
                  <c:v>31.10.21</c:v>
                </c:pt>
                <c:pt idx="24">
                  <c:v>01.11.21</c:v>
                </c:pt>
                <c:pt idx="25">
                  <c:v>02.11.21</c:v>
                </c:pt>
                <c:pt idx="26">
                  <c:v>03.11.21</c:v>
                </c:pt>
                <c:pt idx="27">
                  <c:v>04.11.21</c:v>
                </c:pt>
                <c:pt idx="28">
                  <c:v>05.11.21</c:v>
                </c:pt>
                <c:pt idx="29">
                  <c:v>06.11.21</c:v>
                </c:pt>
                <c:pt idx="30">
                  <c:v>07.11.21</c:v>
                </c:pt>
                <c:pt idx="31">
                  <c:v>08.11.21</c:v>
                </c:pt>
                <c:pt idx="32">
                  <c:v>09.11.21</c:v>
                </c:pt>
                <c:pt idx="33">
                  <c:v>10.11.21</c:v>
                </c:pt>
                <c:pt idx="34">
                  <c:v>11.11.21</c:v>
                </c:pt>
                <c:pt idx="35">
                  <c:v>12.11.21</c:v>
                </c:pt>
                <c:pt idx="36">
                  <c:v>13.11.21</c:v>
                </c:pt>
                <c:pt idx="37">
                  <c:v>14.11.21</c:v>
                </c:pt>
                <c:pt idx="38">
                  <c:v>15.11.21</c:v>
                </c:pt>
                <c:pt idx="39">
                  <c:v>16.11.21</c:v>
                </c:pt>
                <c:pt idx="40">
                  <c:v>17.11.21</c:v>
                </c:pt>
                <c:pt idx="41">
                  <c:v>18.11.21</c:v>
                </c:pt>
                <c:pt idx="42">
                  <c:v>19.11.21</c:v>
                </c:pt>
                <c:pt idx="43">
                  <c:v>20.11.21</c:v>
                </c:pt>
                <c:pt idx="44">
                  <c:v>21.11.21</c:v>
                </c:pt>
                <c:pt idx="45">
                  <c:v>22.11.21</c:v>
                </c:pt>
                <c:pt idx="46">
                  <c:v>23.11.21</c:v>
                </c:pt>
                <c:pt idx="47">
                  <c:v>24.11.21</c:v>
                </c:pt>
                <c:pt idx="48">
                  <c:v>25.11.21</c:v>
                </c:pt>
                <c:pt idx="49">
                  <c:v>26.11.21</c:v>
                </c:pt>
                <c:pt idx="50">
                  <c:v>27.11.21</c:v>
                </c:pt>
                <c:pt idx="51">
                  <c:v>28.11.21</c:v>
                </c:pt>
                <c:pt idx="52">
                  <c:v>29.11.21</c:v>
                </c:pt>
                <c:pt idx="53">
                  <c:v>30.11.21</c:v>
                </c:pt>
                <c:pt idx="54">
                  <c:v>01.12.21</c:v>
                </c:pt>
                <c:pt idx="55">
                  <c:v>02.12.21</c:v>
                </c:pt>
                <c:pt idx="56">
                  <c:v>03.12.21</c:v>
                </c:pt>
                <c:pt idx="57">
                  <c:v>04.12.21</c:v>
                </c:pt>
                <c:pt idx="58">
                  <c:v>05.12.21</c:v>
                </c:pt>
                <c:pt idx="59">
                  <c:v>06.12.21</c:v>
                </c:pt>
                <c:pt idx="60">
                  <c:v>07.12.21</c:v>
                </c:pt>
                <c:pt idx="61">
                  <c:v>08.12.21</c:v>
                </c:pt>
                <c:pt idx="62">
                  <c:v>09.12.21</c:v>
                </c:pt>
                <c:pt idx="63">
                  <c:v>10.12.21</c:v>
                </c:pt>
                <c:pt idx="64">
                  <c:v>11.12.21</c:v>
                </c:pt>
                <c:pt idx="65">
                  <c:v>12.12.21</c:v>
                </c:pt>
                <c:pt idx="66">
                  <c:v>13.12.21</c:v>
                </c:pt>
                <c:pt idx="67">
                  <c:v>14.12.21</c:v>
                </c:pt>
                <c:pt idx="68">
                  <c:v>15.12.21</c:v>
                </c:pt>
                <c:pt idx="69">
                  <c:v>16.12.21</c:v>
                </c:pt>
                <c:pt idx="70">
                  <c:v>17.12.21</c:v>
                </c:pt>
                <c:pt idx="71">
                  <c:v>18.12.21</c:v>
                </c:pt>
                <c:pt idx="72">
                  <c:v>19.12.21</c:v>
                </c:pt>
                <c:pt idx="73">
                  <c:v>20.12.21</c:v>
                </c:pt>
                <c:pt idx="74">
                  <c:v>21.12.21</c:v>
                </c:pt>
                <c:pt idx="75">
                  <c:v>22.12.21</c:v>
                </c:pt>
                <c:pt idx="76">
                  <c:v>23.12.21</c:v>
                </c:pt>
                <c:pt idx="77">
                  <c:v>24.12.21</c:v>
                </c:pt>
                <c:pt idx="78">
                  <c:v>25.12.21</c:v>
                </c:pt>
                <c:pt idx="79">
                  <c:v>26.12.21</c:v>
                </c:pt>
                <c:pt idx="80">
                  <c:v>27.12.21</c:v>
                </c:pt>
                <c:pt idx="81">
                  <c:v>28.12.21</c:v>
                </c:pt>
                <c:pt idx="82">
                  <c:v>29.12.21</c:v>
                </c:pt>
                <c:pt idx="83">
                  <c:v>30.12.21</c:v>
                </c:pt>
                <c:pt idx="84">
                  <c:v>31.12.21</c:v>
                </c:pt>
                <c:pt idx="85">
                  <c:v>01.01.22</c:v>
                </c:pt>
                <c:pt idx="86">
                  <c:v>02.01.22</c:v>
                </c:pt>
                <c:pt idx="87">
                  <c:v>03.01.22</c:v>
                </c:pt>
                <c:pt idx="88">
                  <c:v>04.01.22</c:v>
                </c:pt>
                <c:pt idx="89">
                  <c:v>05.01.22</c:v>
                </c:pt>
                <c:pt idx="90">
                  <c:v>06.01.22</c:v>
                </c:pt>
                <c:pt idx="91">
                  <c:v>07.01.22</c:v>
                </c:pt>
                <c:pt idx="92">
                  <c:v>08.01.22</c:v>
                </c:pt>
                <c:pt idx="93">
                  <c:v>09.01.22</c:v>
                </c:pt>
                <c:pt idx="94">
                  <c:v>10.01.22</c:v>
                </c:pt>
                <c:pt idx="95">
                  <c:v>11.01.22</c:v>
                </c:pt>
                <c:pt idx="96">
                  <c:v>12.01.22</c:v>
                </c:pt>
                <c:pt idx="97">
                  <c:v>13.01.22</c:v>
                </c:pt>
                <c:pt idx="98">
                  <c:v>14.01.22</c:v>
                </c:pt>
                <c:pt idx="99">
                  <c:v>15.01.22</c:v>
                </c:pt>
                <c:pt idx="100">
                  <c:v>16.01.22</c:v>
                </c:pt>
                <c:pt idx="101">
                  <c:v>17.01.22</c:v>
                </c:pt>
                <c:pt idx="102">
                  <c:v>18.01.22</c:v>
                </c:pt>
                <c:pt idx="103">
                  <c:v>19.01.22</c:v>
                </c:pt>
                <c:pt idx="104">
                  <c:v>20.01.22</c:v>
                </c:pt>
                <c:pt idx="105">
                  <c:v>21.01.22</c:v>
                </c:pt>
                <c:pt idx="106">
                  <c:v>22.01.22</c:v>
                </c:pt>
                <c:pt idx="107">
                  <c:v>23.01.22</c:v>
                </c:pt>
                <c:pt idx="108">
                  <c:v>24.01.22</c:v>
                </c:pt>
                <c:pt idx="109">
                  <c:v>25.01.22</c:v>
                </c:pt>
                <c:pt idx="110">
                  <c:v>26.01.22</c:v>
                </c:pt>
                <c:pt idx="111">
                  <c:v>27.01.22</c:v>
                </c:pt>
                <c:pt idx="112">
                  <c:v>28.01.22</c:v>
                </c:pt>
                <c:pt idx="113">
                  <c:v>29.01.22</c:v>
                </c:pt>
                <c:pt idx="114">
                  <c:v>30.01.22</c:v>
                </c:pt>
                <c:pt idx="115">
                  <c:v>31.01.22</c:v>
                </c:pt>
                <c:pt idx="116">
                  <c:v>01.02.22</c:v>
                </c:pt>
                <c:pt idx="117">
                  <c:v>02.02.22</c:v>
                </c:pt>
                <c:pt idx="118">
                  <c:v>03.02.22</c:v>
                </c:pt>
                <c:pt idx="119">
                  <c:v>04.02.22</c:v>
                </c:pt>
                <c:pt idx="120">
                  <c:v>05.02.22</c:v>
                </c:pt>
                <c:pt idx="121">
                  <c:v>06.02.22</c:v>
                </c:pt>
                <c:pt idx="122">
                  <c:v>07.02.22</c:v>
                </c:pt>
                <c:pt idx="123">
                  <c:v>08.02.22</c:v>
                </c:pt>
                <c:pt idx="124">
                  <c:v>09.02.22</c:v>
                </c:pt>
                <c:pt idx="125">
                  <c:v>10.02.22</c:v>
                </c:pt>
                <c:pt idx="126">
                  <c:v>11.02.22</c:v>
                </c:pt>
                <c:pt idx="127">
                  <c:v>12.02.22</c:v>
                </c:pt>
                <c:pt idx="128">
                  <c:v>13.02.22</c:v>
                </c:pt>
                <c:pt idx="129">
                  <c:v>14.02.22</c:v>
                </c:pt>
                <c:pt idx="130">
                  <c:v>15.02.22</c:v>
                </c:pt>
                <c:pt idx="131">
                  <c:v>16.02.22</c:v>
                </c:pt>
                <c:pt idx="132">
                  <c:v>17.02.22</c:v>
                </c:pt>
                <c:pt idx="133">
                  <c:v>18.02.22</c:v>
                </c:pt>
                <c:pt idx="134">
                  <c:v>19.02.22</c:v>
                </c:pt>
                <c:pt idx="135">
                  <c:v>20.02.22</c:v>
                </c:pt>
                <c:pt idx="136">
                  <c:v>21.02.22</c:v>
                </c:pt>
                <c:pt idx="137">
                  <c:v>22.02.22</c:v>
                </c:pt>
                <c:pt idx="138">
                  <c:v>23.02.22</c:v>
                </c:pt>
                <c:pt idx="139">
                  <c:v>24.02.22</c:v>
                </c:pt>
                <c:pt idx="140">
                  <c:v>25.02.22</c:v>
                </c:pt>
                <c:pt idx="141">
                  <c:v>26.02.22</c:v>
                </c:pt>
                <c:pt idx="142">
                  <c:v>27.02.22</c:v>
                </c:pt>
                <c:pt idx="143">
                  <c:v>28.02.22</c:v>
                </c:pt>
                <c:pt idx="144">
                  <c:v>01.03.22</c:v>
                </c:pt>
                <c:pt idx="145">
                  <c:v>02.03.22</c:v>
                </c:pt>
                <c:pt idx="146">
                  <c:v>03.03.22</c:v>
                </c:pt>
                <c:pt idx="147">
                  <c:v>04.03.22</c:v>
                </c:pt>
                <c:pt idx="148">
                  <c:v>05.03.22</c:v>
                </c:pt>
                <c:pt idx="149">
                  <c:v>06.03.22</c:v>
                </c:pt>
                <c:pt idx="150">
                  <c:v>07.03.22</c:v>
                </c:pt>
                <c:pt idx="151">
                  <c:v>08.03.22</c:v>
                </c:pt>
                <c:pt idx="152">
                  <c:v>09.03.22</c:v>
                </c:pt>
                <c:pt idx="153">
                  <c:v>10.03.22</c:v>
                </c:pt>
                <c:pt idx="154">
                  <c:v>11.03.22</c:v>
                </c:pt>
                <c:pt idx="155">
                  <c:v>12.03.22</c:v>
                </c:pt>
                <c:pt idx="156">
                  <c:v>13.03.22</c:v>
                </c:pt>
                <c:pt idx="157">
                  <c:v>14.03.22</c:v>
                </c:pt>
                <c:pt idx="158">
                  <c:v>15.03.22</c:v>
                </c:pt>
                <c:pt idx="159">
                  <c:v>16.03.22</c:v>
                </c:pt>
                <c:pt idx="160">
                  <c:v>17.03.22</c:v>
                </c:pt>
                <c:pt idx="161">
                  <c:v>18.03.22</c:v>
                </c:pt>
                <c:pt idx="162">
                  <c:v>19.03.22</c:v>
                </c:pt>
                <c:pt idx="163">
                  <c:v>20.03.22</c:v>
                </c:pt>
                <c:pt idx="164">
                  <c:v>21.03.22</c:v>
                </c:pt>
                <c:pt idx="165">
                  <c:v>22.03.22</c:v>
                </c:pt>
                <c:pt idx="166">
                  <c:v>23.03.22</c:v>
                </c:pt>
                <c:pt idx="167">
                  <c:v>24.03.22</c:v>
                </c:pt>
                <c:pt idx="168">
                  <c:v>25.03.22</c:v>
                </c:pt>
                <c:pt idx="169">
                  <c:v>26.03.22</c:v>
                </c:pt>
                <c:pt idx="170">
                  <c:v>27.03.22</c:v>
                </c:pt>
                <c:pt idx="171">
                  <c:v>28.03.22</c:v>
                </c:pt>
                <c:pt idx="172">
                  <c:v>29.03.22</c:v>
                </c:pt>
                <c:pt idx="173">
                  <c:v>30.03.22</c:v>
                </c:pt>
                <c:pt idx="174">
                  <c:v>31.03.22</c:v>
                </c:pt>
                <c:pt idx="175">
                  <c:v>01.04.22</c:v>
                </c:pt>
                <c:pt idx="176">
                  <c:v>02.04.22</c:v>
                </c:pt>
                <c:pt idx="177">
                  <c:v>03.04.22</c:v>
                </c:pt>
                <c:pt idx="178">
                  <c:v>04.04.22</c:v>
                </c:pt>
                <c:pt idx="179">
                  <c:v>05.04.22</c:v>
                </c:pt>
                <c:pt idx="180">
                  <c:v>06.04.22</c:v>
                </c:pt>
                <c:pt idx="181">
                  <c:v>07.04.22</c:v>
                </c:pt>
                <c:pt idx="182">
                  <c:v>08.04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6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10</c:v>
                </c:pt>
                <c:pt idx="5">
                  <c:v>7</c:v>
                </c:pt>
                <c:pt idx="6">
                  <c:v>7</c:v>
                </c:pt>
                <c:pt idx="7">
                  <c:v>6</c:v>
                </c:pt>
                <c:pt idx="8">
                  <c:v>5</c:v>
                </c:pt>
                <c:pt idx="9">
                  <c:v>8</c:v>
                </c:pt>
                <c:pt idx="10">
                  <c:v>17</c:v>
                </c:pt>
                <c:pt idx="11">
                  <c:v>16</c:v>
                </c:pt>
                <c:pt idx="12">
                  <c:v>13</c:v>
                </c:pt>
                <c:pt idx="13">
                  <c:v>13</c:v>
                </c:pt>
                <c:pt idx="14">
                  <c:v>16</c:v>
                </c:pt>
                <c:pt idx="15">
                  <c:v>13</c:v>
                </c:pt>
                <c:pt idx="16">
                  <c:v>12</c:v>
                </c:pt>
                <c:pt idx="17">
                  <c:v>28</c:v>
                </c:pt>
                <c:pt idx="18">
                  <c:v>20</c:v>
                </c:pt>
                <c:pt idx="19">
                  <c:v>25</c:v>
                </c:pt>
                <c:pt idx="20">
                  <c:v>22</c:v>
                </c:pt>
                <c:pt idx="21">
                  <c:v>36</c:v>
                </c:pt>
                <c:pt idx="22">
                  <c:v>21</c:v>
                </c:pt>
                <c:pt idx="23">
                  <c:v>18</c:v>
                </c:pt>
                <c:pt idx="24">
                  <c:v>55</c:v>
                </c:pt>
                <c:pt idx="25">
                  <c:v>37</c:v>
                </c:pt>
                <c:pt idx="26">
                  <c:v>38</c:v>
                </c:pt>
                <c:pt idx="27">
                  <c:v>26</c:v>
                </c:pt>
                <c:pt idx="28">
                  <c:v>39</c:v>
                </c:pt>
                <c:pt idx="29">
                  <c:v>20</c:v>
                </c:pt>
                <c:pt idx="30">
                  <c:v>18</c:v>
                </c:pt>
                <c:pt idx="31">
                  <c:v>52</c:v>
                </c:pt>
                <c:pt idx="32">
                  <c:v>47</c:v>
                </c:pt>
                <c:pt idx="33">
                  <c:v>47</c:v>
                </c:pt>
                <c:pt idx="34">
                  <c:v>50</c:v>
                </c:pt>
                <c:pt idx="35">
                  <c:v>41</c:v>
                </c:pt>
                <c:pt idx="36">
                  <c:v>49</c:v>
                </c:pt>
                <c:pt idx="37">
                  <c:v>22</c:v>
                </c:pt>
                <c:pt idx="38">
                  <c:v>63</c:v>
                </c:pt>
                <c:pt idx="39">
                  <c:v>57</c:v>
                </c:pt>
                <c:pt idx="40">
                  <c:v>43</c:v>
                </c:pt>
                <c:pt idx="41">
                  <c:v>53</c:v>
                </c:pt>
                <c:pt idx="42">
                  <c:v>79</c:v>
                </c:pt>
                <c:pt idx="43">
                  <c:v>46</c:v>
                </c:pt>
                <c:pt idx="44">
                  <c:v>31</c:v>
                </c:pt>
                <c:pt idx="45">
                  <c:v>61</c:v>
                </c:pt>
                <c:pt idx="46">
                  <c:v>71</c:v>
                </c:pt>
                <c:pt idx="47">
                  <c:v>41</c:v>
                </c:pt>
                <c:pt idx="48">
                  <c:v>66</c:v>
                </c:pt>
                <c:pt idx="49">
                  <c:v>53</c:v>
                </c:pt>
                <c:pt idx="50">
                  <c:v>35</c:v>
                </c:pt>
                <c:pt idx="51">
                  <c:v>38</c:v>
                </c:pt>
                <c:pt idx="52">
                  <c:v>56</c:v>
                </c:pt>
                <c:pt idx="53">
                  <c:v>46</c:v>
                </c:pt>
                <c:pt idx="54">
                  <c:v>56</c:v>
                </c:pt>
                <c:pt idx="55">
                  <c:v>40</c:v>
                </c:pt>
                <c:pt idx="56">
                  <c:v>49</c:v>
                </c:pt>
                <c:pt idx="57">
                  <c:v>24</c:v>
                </c:pt>
                <c:pt idx="58">
                  <c:v>15</c:v>
                </c:pt>
                <c:pt idx="59">
                  <c:v>45</c:v>
                </c:pt>
                <c:pt idx="60">
                  <c:v>40</c:v>
                </c:pt>
                <c:pt idx="61">
                  <c:v>30</c:v>
                </c:pt>
                <c:pt idx="62">
                  <c:v>30</c:v>
                </c:pt>
                <c:pt idx="63">
                  <c:v>33</c:v>
                </c:pt>
                <c:pt idx="64">
                  <c:v>19</c:v>
                </c:pt>
                <c:pt idx="65">
                  <c:v>11</c:v>
                </c:pt>
                <c:pt idx="66">
                  <c:v>28</c:v>
                </c:pt>
                <c:pt idx="67">
                  <c:v>25</c:v>
                </c:pt>
                <c:pt idx="68">
                  <c:v>24</c:v>
                </c:pt>
                <c:pt idx="69">
                  <c:v>15</c:v>
                </c:pt>
                <c:pt idx="70">
                  <c:v>22</c:v>
                </c:pt>
                <c:pt idx="71">
                  <c:v>19</c:v>
                </c:pt>
                <c:pt idx="72">
                  <c:v>15</c:v>
                </c:pt>
                <c:pt idx="73">
                  <c:v>27</c:v>
                </c:pt>
                <c:pt idx="74">
                  <c:v>26</c:v>
                </c:pt>
                <c:pt idx="75">
                  <c:v>21</c:v>
                </c:pt>
                <c:pt idx="76">
                  <c:v>23</c:v>
                </c:pt>
                <c:pt idx="77">
                  <c:v>4</c:v>
                </c:pt>
                <c:pt idx="78">
                  <c:v>11</c:v>
                </c:pt>
                <c:pt idx="79">
                  <c:v>8</c:v>
                </c:pt>
                <c:pt idx="80">
                  <c:v>24</c:v>
                </c:pt>
                <c:pt idx="81">
                  <c:v>33</c:v>
                </c:pt>
                <c:pt idx="82">
                  <c:v>23</c:v>
                </c:pt>
                <c:pt idx="83">
                  <c:v>20</c:v>
                </c:pt>
                <c:pt idx="84">
                  <c:v>19</c:v>
                </c:pt>
                <c:pt idx="85">
                  <c:v>6</c:v>
                </c:pt>
                <c:pt idx="86">
                  <c:v>24</c:v>
                </c:pt>
                <c:pt idx="87">
                  <c:v>33</c:v>
                </c:pt>
                <c:pt idx="88">
                  <c:v>26</c:v>
                </c:pt>
                <c:pt idx="89">
                  <c:v>20</c:v>
                </c:pt>
                <c:pt idx="90">
                  <c:v>25</c:v>
                </c:pt>
                <c:pt idx="91">
                  <c:v>18</c:v>
                </c:pt>
                <c:pt idx="92">
                  <c:v>17</c:v>
                </c:pt>
                <c:pt idx="93">
                  <c:v>13</c:v>
                </c:pt>
                <c:pt idx="94">
                  <c:v>32</c:v>
                </c:pt>
                <c:pt idx="95">
                  <c:v>46</c:v>
                </c:pt>
                <c:pt idx="96">
                  <c:v>71</c:v>
                </c:pt>
                <c:pt idx="97">
                  <c:v>38</c:v>
                </c:pt>
                <c:pt idx="98">
                  <c:v>46</c:v>
                </c:pt>
                <c:pt idx="99">
                  <c:v>32</c:v>
                </c:pt>
                <c:pt idx="100">
                  <c:v>41</c:v>
                </c:pt>
                <c:pt idx="101">
                  <c:v>109</c:v>
                </c:pt>
                <c:pt idx="102">
                  <c:v>88</c:v>
                </c:pt>
                <c:pt idx="103">
                  <c:v>113</c:v>
                </c:pt>
                <c:pt idx="104">
                  <c:v>112</c:v>
                </c:pt>
                <c:pt idx="105">
                  <c:v>90</c:v>
                </c:pt>
                <c:pt idx="106">
                  <c:v>58</c:v>
                </c:pt>
                <c:pt idx="107">
                  <c:v>70</c:v>
                </c:pt>
                <c:pt idx="108">
                  <c:v>184</c:v>
                </c:pt>
                <c:pt idx="109">
                  <c:v>156</c:v>
                </c:pt>
                <c:pt idx="110">
                  <c:v>171</c:v>
                </c:pt>
                <c:pt idx="111">
                  <c:v>123</c:v>
                </c:pt>
                <c:pt idx="112">
                  <c:v>151</c:v>
                </c:pt>
                <c:pt idx="113">
                  <c:v>58</c:v>
                </c:pt>
                <c:pt idx="114">
                  <c:v>103</c:v>
                </c:pt>
                <c:pt idx="115">
                  <c:v>172</c:v>
                </c:pt>
                <c:pt idx="116">
                  <c:v>196</c:v>
                </c:pt>
                <c:pt idx="117">
                  <c:v>150</c:v>
                </c:pt>
                <c:pt idx="118">
                  <c:v>125</c:v>
                </c:pt>
                <c:pt idx="119">
                  <c:v>112</c:v>
                </c:pt>
                <c:pt idx="120">
                  <c:v>76</c:v>
                </c:pt>
                <c:pt idx="121">
                  <c:v>51</c:v>
                </c:pt>
                <c:pt idx="122">
                  <c:v>129</c:v>
                </c:pt>
                <c:pt idx="123">
                  <c:v>112</c:v>
                </c:pt>
                <c:pt idx="124">
                  <c:v>92</c:v>
                </c:pt>
                <c:pt idx="125">
                  <c:v>91</c:v>
                </c:pt>
                <c:pt idx="126">
                  <c:v>90</c:v>
                </c:pt>
                <c:pt idx="127">
                  <c:v>42</c:v>
                </c:pt>
                <c:pt idx="128">
                  <c:v>40</c:v>
                </c:pt>
                <c:pt idx="129">
                  <c:v>128</c:v>
                </c:pt>
                <c:pt idx="130">
                  <c:v>82</c:v>
                </c:pt>
                <c:pt idx="131">
                  <c:v>79</c:v>
                </c:pt>
                <c:pt idx="132">
                  <c:v>61</c:v>
                </c:pt>
                <c:pt idx="133">
                  <c:v>63</c:v>
                </c:pt>
                <c:pt idx="134">
                  <c:v>37</c:v>
                </c:pt>
                <c:pt idx="135">
                  <c:v>33</c:v>
                </c:pt>
                <c:pt idx="136">
                  <c:v>67</c:v>
                </c:pt>
                <c:pt idx="137">
                  <c:v>56</c:v>
                </c:pt>
                <c:pt idx="138">
                  <c:v>51</c:v>
                </c:pt>
                <c:pt idx="139">
                  <c:v>44</c:v>
                </c:pt>
                <c:pt idx="140">
                  <c:v>38</c:v>
                </c:pt>
                <c:pt idx="141">
                  <c:v>28</c:v>
                </c:pt>
                <c:pt idx="142">
                  <c:v>34</c:v>
                </c:pt>
                <c:pt idx="143">
                  <c:v>67</c:v>
                </c:pt>
                <c:pt idx="144">
                  <c:v>43</c:v>
                </c:pt>
                <c:pt idx="145">
                  <c:v>55</c:v>
                </c:pt>
                <c:pt idx="146">
                  <c:v>42</c:v>
                </c:pt>
                <c:pt idx="147">
                  <c:v>39</c:v>
                </c:pt>
                <c:pt idx="148">
                  <c:v>28</c:v>
                </c:pt>
                <c:pt idx="149">
                  <c:v>23</c:v>
                </c:pt>
                <c:pt idx="150">
                  <c:v>75</c:v>
                </c:pt>
                <c:pt idx="151">
                  <c:v>59</c:v>
                </c:pt>
                <c:pt idx="152">
                  <c:v>52</c:v>
                </c:pt>
                <c:pt idx="153">
                  <c:v>43</c:v>
                </c:pt>
                <c:pt idx="154">
                  <c:v>37</c:v>
                </c:pt>
                <c:pt idx="155">
                  <c:v>20</c:v>
                </c:pt>
                <c:pt idx="156">
                  <c:v>27</c:v>
                </c:pt>
                <c:pt idx="157">
                  <c:v>78</c:v>
                </c:pt>
                <c:pt idx="158">
                  <c:v>50</c:v>
                </c:pt>
                <c:pt idx="159">
                  <c:v>53</c:v>
                </c:pt>
                <c:pt idx="160">
                  <c:v>46</c:v>
                </c:pt>
                <c:pt idx="161">
                  <c:v>37</c:v>
                </c:pt>
                <c:pt idx="162">
                  <c:v>13</c:v>
                </c:pt>
                <c:pt idx="163">
                  <c:v>17</c:v>
                </c:pt>
                <c:pt idx="164">
                  <c:v>84</c:v>
                </c:pt>
                <c:pt idx="165">
                  <c:v>61</c:v>
                </c:pt>
                <c:pt idx="166">
                  <c:v>45</c:v>
                </c:pt>
                <c:pt idx="167">
                  <c:v>54</c:v>
                </c:pt>
                <c:pt idx="168">
                  <c:v>33</c:v>
                </c:pt>
                <c:pt idx="169">
                  <c:v>17</c:v>
                </c:pt>
                <c:pt idx="170">
                  <c:v>25</c:v>
                </c:pt>
                <c:pt idx="171">
                  <c:v>54</c:v>
                </c:pt>
                <c:pt idx="172">
                  <c:v>61</c:v>
                </c:pt>
                <c:pt idx="173">
                  <c:v>56</c:v>
                </c:pt>
                <c:pt idx="174">
                  <c:v>47</c:v>
                </c:pt>
                <c:pt idx="175">
                  <c:v>22</c:v>
                </c:pt>
                <c:pt idx="176">
                  <c:v>25</c:v>
                </c:pt>
                <c:pt idx="177">
                  <c:v>15</c:v>
                </c:pt>
                <c:pt idx="178">
                  <c:v>41</c:v>
                </c:pt>
                <c:pt idx="179">
                  <c:v>26</c:v>
                </c:pt>
                <c:pt idx="180">
                  <c:v>29</c:v>
                </c:pt>
                <c:pt idx="181">
                  <c:v>31</c:v>
                </c:pt>
                <c:pt idx="182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1617930248735E-3"/>
                  <c:y val="-4.6625474630827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428317798490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10.21</c:v>
                </c:pt>
                <c:pt idx="1">
                  <c:v>09.10.21</c:v>
                </c:pt>
                <c:pt idx="2">
                  <c:v>10.10.21</c:v>
                </c:pt>
                <c:pt idx="3">
                  <c:v>11.10.21</c:v>
                </c:pt>
                <c:pt idx="4">
                  <c:v>12.10.21</c:v>
                </c:pt>
                <c:pt idx="5">
                  <c:v>13.10.21</c:v>
                </c:pt>
                <c:pt idx="6">
                  <c:v>14.10.21</c:v>
                </c:pt>
                <c:pt idx="7">
                  <c:v>15.10.21</c:v>
                </c:pt>
                <c:pt idx="8">
                  <c:v>16.10.21</c:v>
                </c:pt>
                <c:pt idx="9">
                  <c:v>17.10.21</c:v>
                </c:pt>
                <c:pt idx="10">
                  <c:v>18.10.21</c:v>
                </c:pt>
                <c:pt idx="11">
                  <c:v>19.10.21</c:v>
                </c:pt>
                <c:pt idx="12">
                  <c:v>20.10.21</c:v>
                </c:pt>
                <c:pt idx="13">
                  <c:v>21.10.21</c:v>
                </c:pt>
                <c:pt idx="14">
                  <c:v>22.10.21</c:v>
                </c:pt>
                <c:pt idx="15">
                  <c:v>23.10.21</c:v>
                </c:pt>
                <c:pt idx="16">
                  <c:v>24.10.21</c:v>
                </c:pt>
                <c:pt idx="17">
                  <c:v>25.10.21</c:v>
                </c:pt>
                <c:pt idx="18">
                  <c:v>26.10.21</c:v>
                </c:pt>
                <c:pt idx="19">
                  <c:v>27.10.21</c:v>
                </c:pt>
                <c:pt idx="20">
                  <c:v>28.10.21</c:v>
                </c:pt>
                <c:pt idx="21">
                  <c:v>29.10.21</c:v>
                </c:pt>
                <c:pt idx="22">
                  <c:v>30.10.21</c:v>
                </c:pt>
                <c:pt idx="23">
                  <c:v>31.10.21</c:v>
                </c:pt>
                <c:pt idx="24">
                  <c:v>01.11.21</c:v>
                </c:pt>
                <c:pt idx="25">
                  <c:v>02.11.21</c:v>
                </c:pt>
                <c:pt idx="26">
                  <c:v>03.11.21</c:v>
                </c:pt>
                <c:pt idx="27">
                  <c:v>04.11.21</c:v>
                </c:pt>
                <c:pt idx="28">
                  <c:v>05.11.21</c:v>
                </c:pt>
                <c:pt idx="29">
                  <c:v>06.11.21</c:v>
                </c:pt>
                <c:pt idx="30">
                  <c:v>07.11.21</c:v>
                </c:pt>
                <c:pt idx="31">
                  <c:v>08.11.21</c:v>
                </c:pt>
                <c:pt idx="32">
                  <c:v>09.11.21</c:v>
                </c:pt>
                <c:pt idx="33">
                  <c:v>10.11.21</c:v>
                </c:pt>
                <c:pt idx="34">
                  <c:v>11.11.21</c:v>
                </c:pt>
                <c:pt idx="35">
                  <c:v>12.11.21</c:v>
                </c:pt>
                <c:pt idx="36">
                  <c:v>13.11.21</c:v>
                </c:pt>
                <c:pt idx="37">
                  <c:v>14.11.21</c:v>
                </c:pt>
                <c:pt idx="38">
                  <c:v>15.11.21</c:v>
                </c:pt>
                <c:pt idx="39">
                  <c:v>16.11.21</c:v>
                </c:pt>
                <c:pt idx="40">
                  <c:v>17.11.21</c:v>
                </c:pt>
                <c:pt idx="41">
                  <c:v>18.11.21</c:v>
                </c:pt>
                <c:pt idx="42">
                  <c:v>19.11.21</c:v>
                </c:pt>
                <c:pt idx="43">
                  <c:v>20.11.21</c:v>
                </c:pt>
                <c:pt idx="44">
                  <c:v>21.11.21</c:v>
                </c:pt>
                <c:pt idx="45">
                  <c:v>22.11.21</c:v>
                </c:pt>
                <c:pt idx="46">
                  <c:v>23.11.21</c:v>
                </c:pt>
                <c:pt idx="47">
                  <c:v>24.11.21</c:v>
                </c:pt>
                <c:pt idx="48">
                  <c:v>25.11.21</c:v>
                </c:pt>
                <c:pt idx="49">
                  <c:v>26.11.21</c:v>
                </c:pt>
                <c:pt idx="50">
                  <c:v>27.11.21</c:v>
                </c:pt>
                <c:pt idx="51">
                  <c:v>28.11.21</c:v>
                </c:pt>
                <c:pt idx="52">
                  <c:v>29.11.21</c:v>
                </c:pt>
                <c:pt idx="53">
                  <c:v>30.11.21</c:v>
                </c:pt>
                <c:pt idx="54">
                  <c:v>01.12.21</c:v>
                </c:pt>
                <c:pt idx="55">
                  <c:v>02.12.21</c:v>
                </c:pt>
                <c:pt idx="56">
                  <c:v>03.12.21</c:v>
                </c:pt>
                <c:pt idx="57">
                  <c:v>04.12.21</c:v>
                </c:pt>
                <c:pt idx="58">
                  <c:v>05.12.21</c:v>
                </c:pt>
                <c:pt idx="59">
                  <c:v>06.12.21</c:v>
                </c:pt>
                <c:pt idx="60">
                  <c:v>07.12.21</c:v>
                </c:pt>
                <c:pt idx="61">
                  <c:v>08.12.21</c:v>
                </c:pt>
                <c:pt idx="62">
                  <c:v>09.12.21</c:v>
                </c:pt>
                <c:pt idx="63">
                  <c:v>10.12.21</c:v>
                </c:pt>
                <c:pt idx="64">
                  <c:v>11.12.21</c:v>
                </c:pt>
                <c:pt idx="65">
                  <c:v>12.12.21</c:v>
                </c:pt>
                <c:pt idx="66">
                  <c:v>13.12.21</c:v>
                </c:pt>
                <c:pt idx="67">
                  <c:v>14.12.21</c:v>
                </c:pt>
                <c:pt idx="68">
                  <c:v>15.12.21</c:v>
                </c:pt>
                <c:pt idx="69">
                  <c:v>16.12.21</c:v>
                </c:pt>
                <c:pt idx="70">
                  <c:v>17.12.21</c:v>
                </c:pt>
                <c:pt idx="71">
                  <c:v>18.12.21</c:v>
                </c:pt>
                <c:pt idx="72">
                  <c:v>19.12.21</c:v>
                </c:pt>
                <c:pt idx="73">
                  <c:v>20.12.21</c:v>
                </c:pt>
                <c:pt idx="74">
                  <c:v>21.12.21</c:v>
                </c:pt>
                <c:pt idx="75">
                  <c:v>22.12.21</c:v>
                </c:pt>
                <c:pt idx="76">
                  <c:v>23.12.21</c:v>
                </c:pt>
                <c:pt idx="77">
                  <c:v>24.12.21</c:v>
                </c:pt>
                <c:pt idx="78">
                  <c:v>25.12.21</c:v>
                </c:pt>
                <c:pt idx="79">
                  <c:v>26.12.21</c:v>
                </c:pt>
                <c:pt idx="80">
                  <c:v>27.12.21</c:v>
                </c:pt>
                <c:pt idx="81">
                  <c:v>28.12.21</c:v>
                </c:pt>
                <c:pt idx="82">
                  <c:v>29.12.21</c:v>
                </c:pt>
                <c:pt idx="83">
                  <c:v>30.12.21</c:v>
                </c:pt>
                <c:pt idx="84">
                  <c:v>31.12.21</c:v>
                </c:pt>
                <c:pt idx="85">
                  <c:v>01.01.22</c:v>
                </c:pt>
                <c:pt idx="86">
                  <c:v>02.01.22</c:v>
                </c:pt>
                <c:pt idx="87">
                  <c:v>03.01.22</c:v>
                </c:pt>
                <c:pt idx="88">
                  <c:v>04.01.22</c:v>
                </c:pt>
                <c:pt idx="89">
                  <c:v>05.01.22</c:v>
                </c:pt>
                <c:pt idx="90">
                  <c:v>06.01.22</c:v>
                </c:pt>
                <c:pt idx="91">
                  <c:v>07.01.22</c:v>
                </c:pt>
                <c:pt idx="92">
                  <c:v>08.01.22</c:v>
                </c:pt>
                <c:pt idx="93">
                  <c:v>09.01.22</c:v>
                </c:pt>
                <c:pt idx="94">
                  <c:v>10.01.22</c:v>
                </c:pt>
                <c:pt idx="95">
                  <c:v>11.01.22</c:v>
                </c:pt>
                <c:pt idx="96">
                  <c:v>12.01.22</c:v>
                </c:pt>
                <c:pt idx="97">
                  <c:v>13.01.22</c:v>
                </c:pt>
                <c:pt idx="98">
                  <c:v>14.01.22</c:v>
                </c:pt>
                <c:pt idx="99">
                  <c:v>15.01.22</c:v>
                </c:pt>
                <c:pt idx="100">
                  <c:v>16.01.22</c:v>
                </c:pt>
                <c:pt idx="101">
                  <c:v>17.01.22</c:v>
                </c:pt>
                <c:pt idx="102">
                  <c:v>18.01.22</c:v>
                </c:pt>
                <c:pt idx="103">
                  <c:v>19.01.22</c:v>
                </c:pt>
                <c:pt idx="104">
                  <c:v>20.01.22</c:v>
                </c:pt>
                <c:pt idx="105">
                  <c:v>21.01.22</c:v>
                </c:pt>
                <c:pt idx="106">
                  <c:v>22.01.22</c:v>
                </c:pt>
                <c:pt idx="107">
                  <c:v>23.01.22</c:v>
                </c:pt>
                <c:pt idx="108">
                  <c:v>24.01.22</c:v>
                </c:pt>
                <c:pt idx="109">
                  <c:v>25.01.22</c:v>
                </c:pt>
                <c:pt idx="110">
                  <c:v>26.01.22</c:v>
                </c:pt>
                <c:pt idx="111">
                  <c:v>27.01.22</c:v>
                </c:pt>
                <c:pt idx="112">
                  <c:v>28.01.22</c:v>
                </c:pt>
                <c:pt idx="113">
                  <c:v>29.01.22</c:v>
                </c:pt>
                <c:pt idx="114">
                  <c:v>30.01.22</c:v>
                </c:pt>
                <c:pt idx="115">
                  <c:v>31.01.22</c:v>
                </c:pt>
                <c:pt idx="116">
                  <c:v>01.02.22</c:v>
                </c:pt>
                <c:pt idx="117">
                  <c:v>02.02.22</c:v>
                </c:pt>
                <c:pt idx="118">
                  <c:v>03.02.22</c:v>
                </c:pt>
                <c:pt idx="119">
                  <c:v>04.02.22</c:v>
                </c:pt>
                <c:pt idx="120">
                  <c:v>05.02.22</c:v>
                </c:pt>
                <c:pt idx="121">
                  <c:v>06.02.22</c:v>
                </c:pt>
                <c:pt idx="122">
                  <c:v>07.02.22</c:v>
                </c:pt>
                <c:pt idx="123">
                  <c:v>08.02.22</c:v>
                </c:pt>
                <c:pt idx="124">
                  <c:v>09.02.22</c:v>
                </c:pt>
                <c:pt idx="125">
                  <c:v>10.02.22</c:v>
                </c:pt>
                <c:pt idx="126">
                  <c:v>11.02.22</c:v>
                </c:pt>
                <c:pt idx="127">
                  <c:v>12.02.22</c:v>
                </c:pt>
                <c:pt idx="128">
                  <c:v>13.02.22</c:v>
                </c:pt>
                <c:pt idx="129">
                  <c:v>14.02.22</c:v>
                </c:pt>
                <c:pt idx="130">
                  <c:v>15.02.22</c:v>
                </c:pt>
                <c:pt idx="131">
                  <c:v>16.02.22</c:v>
                </c:pt>
                <c:pt idx="132">
                  <c:v>17.02.22</c:v>
                </c:pt>
                <c:pt idx="133">
                  <c:v>18.02.22</c:v>
                </c:pt>
                <c:pt idx="134">
                  <c:v>19.02.22</c:v>
                </c:pt>
                <c:pt idx="135">
                  <c:v>20.02.22</c:v>
                </c:pt>
                <c:pt idx="136">
                  <c:v>21.02.22</c:v>
                </c:pt>
                <c:pt idx="137">
                  <c:v>22.02.22</c:v>
                </c:pt>
                <c:pt idx="138">
                  <c:v>23.02.22</c:v>
                </c:pt>
                <c:pt idx="139">
                  <c:v>24.02.22</c:v>
                </c:pt>
                <c:pt idx="140">
                  <c:v>25.02.22</c:v>
                </c:pt>
                <c:pt idx="141">
                  <c:v>26.02.22</c:v>
                </c:pt>
                <c:pt idx="142">
                  <c:v>27.02.22</c:v>
                </c:pt>
                <c:pt idx="143">
                  <c:v>28.02.22</c:v>
                </c:pt>
                <c:pt idx="144">
                  <c:v>01.03.22</c:v>
                </c:pt>
                <c:pt idx="145">
                  <c:v>02.03.22</c:v>
                </c:pt>
                <c:pt idx="146">
                  <c:v>03.03.22</c:v>
                </c:pt>
                <c:pt idx="147">
                  <c:v>04.03.22</c:v>
                </c:pt>
                <c:pt idx="148">
                  <c:v>05.03.22</c:v>
                </c:pt>
                <c:pt idx="149">
                  <c:v>06.03.22</c:v>
                </c:pt>
                <c:pt idx="150">
                  <c:v>07.03.22</c:v>
                </c:pt>
                <c:pt idx="151">
                  <c:v>08.03.22</c:v>
                </c:pt>
                <c:pt idx="152">
                  <c:v>09.03.22</c:v>
                </c:pt>
                <c:pt idx="153">
                  <c:v>10.03.22</c:v>
                </c:pt>
                <c:pt idx="154">
                  <c:v>11.03.22</c:v>
                </c:pt>
                <c:pt idx="155">
                  <c:v>12.03.22</c:v>
                </c:pt>
                <c:pt idx="156">
                  <c:v>13.03.22</c:v>
                </c:pt>
                <c:pt idx="157">
                  <c:v>14.03.22</c:v>
                </c:pt>
                <c:pt idx="158">
                  <c:v>15.03.22</c:v>
                </c:pt>
                <c:pt idx="159">
                  <c:v>16.03.22</c:v>
                </c:pt>
                <c:pt idx="160">
                  <c:v>17.03.22</c:v>
                </c:pt>
                <c:pt idx="161">
                  <c:v>18.03.22</c:v>
                </c:pt>
                <c:pt idx="162">
                  <c:v>19.03.22</c:v>
                </c:pt>
                <c:pt idx="163">
                  <c:v>20.03.22</c:v>
                </c:pt>
                <c:pt idx="164">
                  <c:v>21.03.22</c:v>
                </c:pt>
                <c:pt idx="165">
                  <c:v>22.03.22</c:v>
                </c:pt>
                <c:pt idx="166">
                  <c:v>23.03.22</c:v>
                </c:pt>
                <c:pt idx="167">
                  <c:v>24.03.22</c:v>
                </c:pt>
                <c:pt idx="168">
                  <c:v>25.03.22</c:v>
                </c:pt>
                <c:pt idx="169">
                  <c:v>26.03.22</c:v>
                </c:pt>
                <c:pt idx="170">
                  <c:v>27.03.22</c:v>
                </c:pt>
                <c:pt idx="171">
                  <c:v>28.03.22</c:v>
                </c:pt>
                <c:pt idx="172">
                  <c:v>29.03.22</c:v>
                </c:pt>
                <c:pt idx="173">
                  <c:v>30.03.22</c:v>
                </c:pt>
                <c:pt idx="174">
                  <c:v>31.03.22</c:v>
                </c:pt>
                <c:pt idx="175">
                  <c:v>01.04.22</c:v>
                </c:pt>
                <c:pt idx="176">
                  <c:v>02.04.22</c:v>
                </c:pt>
                <c:pt idx="177">
                  <c:v>03.04.22</c:v>
                </c:pt>
                <c:pt idx="178">
                  <c:v>04.04.22</c:v>
                </c:pt>
                <c:pt idx="179">
                  <c:v>05.04.22</c:v>
                </c:pt>
                <c:pt idx="180">
                  <c:v>06.04.22</c:v>
                </c:pt>
                <c:pt idx="181">
                  <c:v>07.04.22</c:v>
                </c:pt>
                <c:pt idx="182">
                  <c:v>08.04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9</c:v>
                </c:pt>
                <c:pt idx="1">
                  <c:v>5</c:v>
                </c:pt>
                <c:pt idx="2">
                  <c:v>4</c:v>
                </c:pt>
                <c:pt idx="3">
                  <c:v>17</c:v>
                </c:pt>
                <c:pt idx="4">
                  <c:v>17</c:v>
                </c:pt>
                <c:pt idx="5">
                  <c:v>20</c:v>
                </c:pt>
                <c:pt idx="6">
                  <c:v>19</c:v>
                </c:pt>
                <c:pt idx="7">
                  <c:v>17</c:v>
                </c:pt>
                <c:pt idx="8">
                  <c:v>10</c:v>
                </c:pt>
                <c:pt idx="9">
                  <c:v>10</c:v>
                </c:pt>
                <c:pt idx="10">
                  <c:v>31</c:v>
                </c:pt>
                <c:pt idx="11">
                  <c:v>24</c:v>
                </c:pt>
                <c:pt idx="12">
                  <c:v>23</c:v>
                </c:pt>
                <c:pt idx="13">
                  <c:v>49</c:v>
                </c:pt>
                <c:pt idx="14">
                  <c:v>39</c:v>
                </c:pt>
                <c:pt idx="15">
                  <c:v>31</c:v>
                </c:pt>
                <c:pt idx="16">
                  <c:v>12</c:v>
                </c:pt>
                <c:pt idx="17">
                  <c:v>58</c:v>
                </c:pt>
                <c:pt idx="18">
                  <c:v>64</c:v>
                </c:pt>
                <c:pt idx="19">
                  <c:v>70</c:v>
                </c:pt>
                <c:pt idx="20">
                  <c:v>30</c:v>
                </c:pt>
                <c:pt idx="21">
                  <c:v>78</c:v>
                </c:pt>
                <c:pt idx="22">
                  <c:v>56</c:v>
                </c:pt>
                <c:pt idx="23">
                  <c:v>38</c:v>
                </c:pt>
                <c:pt idx="24">
                  <c:v>103</c:v>
                </c:pt>
                <c:pt idx="25">
                  <c:v>101</c:v>
                </c:pt>
                <c:pt idx="26">
                  <c:v>110</c:v>
                </c:pt>
                <c:pt idx="27">
                  <c:v>96</c:v>
                </c:pt>
                <c:pt idx="28">
                  <c:v>107</c:v>
                </c:pt>
                <c:pt idx="29">
                  <c:v>80</c:v>
                </c:pt>
                <c:pt idx="30">
                  <c:v>25</c:v>
                </c:pt>
                <c:pt idx="31">
                  <c:v>121</c:v>
                </c:pt>
                <c:pt idx="32">
                  <c:v>132</c:v>
                </c:pt>
                <c:pt idx="33">
                  <c:v>167</c:v>
                </c:pt>
                <c:pt idx="34">
                  <c:v>92</c:v>
                </c:pt>
                <c:pt idx="35">
                  <c:v>153</c:v>
                </c:pt>
                <c:pt idx="36">
                  <c:v>87</c:v>
                </c:pt>
                <c:pt idx="37">
                  <c:v>53</c:v>
                </c:pt>
                <c:pt idx="38">
                  <c:v>147</c:v>
                </c:pt>
                <c:pt idx="39">
                  <c:v>216</c:v>
                </c:pt>
                <c:pt idx="40">
                  <c:v>108</c:v>
                </c:pt>
                <c:pt idx="41">
                  <c:v>154</c:v>
                </c:pt>
                <c:pt idx="42">
                  <c:v>218</c:v>
                </c:pt>
                <c:pt idx="43">
                  <c:v>146</c:v>
                </c:pt>
                <c:pt idx="44">
                  <c:v>79</c:v>
                </c:pt>
                <c:pt idx="45">
                  <c:v>181</c:v>
                </c:pt>
                <c:pt idx="46">
                  <c:v>238</c:v>
                </c:pt>
                <c:pt idx="47">
                  <c:v>129</c:v>
                </c:pt>
                <c:pt idx="48">
                  <c:v>202</c:v>
                </c:pt>
                <c:pt idx="49">
                  <c:v>176</c:v>
                </c:pt>
                <c:pt idx="50">
                  <c:v>99</c:v>
                </c:pt>
                <c:pt idx="51">
                  <c:v>74</c:v>
                </c:pt>
                <c:pt idx="52">
                  <c:v>192</c:v>
                </c:pt>
                <c:pt idx="53">
                  <c:v>152</c:v>
                </c:pt>
                <c:pt idx="54">
                  <c:v>156</c:v>
                </c:pt>
                <c:pt idx="55">
                  <c:v>140</c:v>
                </c:pt>
                <c:pt idx="56">
                  <c:v>126</c:v>
                </c:pt>
                <c:pt idx="57">
                  <c:v>79</c:v>
                </c:pt>
                <c:pt idx="58">
                  <c:v>61</c:v>
                </c:pt>
                <c:pt idx="59">
                  <c:v>151</c:v>
                </c:pt>
                <c:pt idx="60">
                  <c:v>145</c:v>
                </c:pt>
                <c:pt idx="61">
                  <c:v>109</c:v>
                </c:pt>
                <c:pt idx="62">
                  <c:v>116</c:v>
                </c:pt>
                <c:pt idx="63">
                  <c:v>106</c:v>
                </c:pt>
                <c:pt idx="64">
                  <c:v>69</c:v>
                </c:pt>
                <c:pt idx="65">
                  <c:v>50</c:v>
                </c:pt>
                <c:pt idx="66">
                  <c:v>94</c:v>
                </c:pt>
                <c:pt idx="67">
                  <c:v>114</c:v>
                </c:pt>
                <c:pt idx="68">
                  <c:v>78</c:v>
                </c:pt>
                <c:pt idx="69">
                  <c:v>60</c:v>
                </c:pt>
                <c:pt idx="70">
                  <c:v>71</c:v>
                </c:pt>
                <c:pt idx="71">
                  <c:v>44</c:v>
                </c:pt>
                <c:pt idx="72">
                  <c:v>30</c:v>
                </c:pt>
                <c:pt idx="73">
                  <c:v>82</c:v>
                </c:pt>
                <c:pt idx="74">
                  <c:v>75</c:v>
                </c:pt>
                <c:pt idx="75">
                  <c:v>51</c:v>
                </c:pt>
                <c:pt idx="76">
                  <c:v>55</c:v>
                </c:pt>
                <c:pt idx="77">
                  <c:v>17</c:v>
                </c:pt>
                <c:pt idx="78">
                  <c:v>18</c:v>
                </c:pt>
                <c:pt idx="79">
                  <c:v>18</c:v>
                </c:pt>
                <c:pt idx="80">
                  <c:v>72</c:v>
                </c:pt>
                <c:pt idx="81">
                  <c:v>87</c:v>
                </c:pt>
                <c:pt idx="82">
                  <c:v>50</c:v>
                </c:pt>
                <c:pt idx="83">
                  <c:v>47</c:v>
                </c:pt>
                <c:pt idx="84">
                  <c:v>45</c:v>
                </c:pt>
                <c:pt idx="85">
                  <c:v>10</c:v>
                </c:pt>
                <c:pt idx="86">
                  <c:v>33</c:v>
                </c:pt>
                <c:pt idx="87">
                  <c:v>80</c:v>
                </c:pt>
                <c:pt idx="88">
                  <c:v>66</c:v>
                </c:pt>
                <c:pt idx="89">
                  <c:v>45</c:v>
                </c:pt>
                <c:pt idx="90">
                  <c:v>50</c:v>
                </c:pt>
                <c:pt idx="91">
                  <c:v>57</c:v>
                </c:pt>
                <c:pt idx="92">
                  <c:v>33</c:v>
                </c:pt>
                <c:pt idx="93">
                  <c:v>22</c:v>
                </c:pt>
                <c:pt idx="94">
                  <c:v>59</c:v>
                </c:pt>
                <c:pt idx="95">
                  <c:v>89</c:v>
                </c:pt>
                <c:pt idx="96">
                  <c:v>82</c:v>
                </c:pt>
                <c:pt idx="97">
                  <c:v>78</c:v>
                </c:pt>
                <c:pt idx="98">
                  <c:v>78</c:v>
                </c:pt>
                <c:pt idx="99">
                  <c:v>75</c:v>
                </c:pt>
                <c:pt idx="100">
                  <c:v>48</c:v>
                </c:pt>
                <c:pt idx="101">
                  <c:v>182</c:v>
                </c:pt>
                <c:pt idx="102">
                  <c:v>204</c:v>
                </c:pt>
                <c:pt idx="103">
                  <c:v>187</c:v>
                </c:pt>
                <c:pt idx="104">
                  <c:v>213</c:v>
                </c:pt>
                <c:pt idx="105">
                  <c:v>259</c:v>
                </c:pt>
                <c:pt idx="106">
                  <c:v>134</c:v>
                </c:pt>
                <c:pt idx="107">
                  <c:v>113</c:v>
                </c:pt>
                <c:pt idx="108">
                  <c:v>338</c:v>
                </c:pt>
                <c:pt idx="109">
                  <c:v>338</c:v>
                </c:pt>
                <c:pt idx="110">
                  <c:v>422</c:v>
                </c:pt>
                <c:pt idx="111">
                  <c:v>352</c:v>
                </c:pt>
                <c:pt idx="112">
                  <c:v>436</c:v>
                </c:pt>
                <c:pt idx="113">
                  <c:v>152</c:v>
                </c:pt>
                <c:pt idx="114">
                  <c:v>218</c:v>
                </c:pt>
                <c:pt idx="115">
                  <c:v>471</c:v>
                </c:pt>
                <c:pt idx="116">
                  <c:v>503</c:v>
                </c:pt>
                <c:pt idx="117">
                  <c:v>403</c:v>
                </c:pt>
                <c:pt idx="118">
                  <c:v>370</c:v>
                </c:pt>
                <c:pt idx="119">
                  <c:v>298</c:v>
                </c:pt>
                <c:pt idx="120">
                  <c:v>234</c:v>
                </c:pt>
                <c:pt idx="121">
                  <c:v>124</c:v>
                </c:pt>
                <c:pt idx="122">
                  <c:v>431</c:v>
                </c:pt>
                <c:pt idx="123">
                  <c:v>388</c:v>
                </c:pt>
                <c:pt idx="124">
                  <c:v>310</c:v>
                </c:pt>
                <c:pt idx="125">
                  <c:v>271</c:v>
                </c:pt>
                <c:pt idx="126">
                  <c:v>237</c:v>
                </c:pt>
                <c:pt idx="127">
                  <c:v>147</c:v>
                </c:pt>
                <c:pt idx="128">
                  <c:v>111</c:v>
                </c:pt>
                <c:pt idx="129">
                  <c:v>293</c:v>
                </c:pt>
                <c:pt idx="130">
                  <c:v>300</c:v>
                </c:pt>
                <c:pt idx="131">
                  <c:v>230</c:v>
                </c:pt>
                <c:pt idx="132">
                  <c:v>200</c:v>
                </c:pt>
                <c:pt idx="133">
                  <c:v>182</c:v>
                </c:pt>
                <c:pt idx="134">
                  <c:v>89</c:v>
                </c:pt>
                <c:pt idx="135">
                  <c:v>64</c:v>
                </c:pt>
                <c:pt idx="136">
                  <c:v>220</c:v>
                </c:pt>
                <c:pt idx="137">
                  <c:v>166</c:v>
                </c:pt>
                <c:pt idx="138">
                  <c:v>113</c:v>
                </c:pt>
                <c:pt idx="139">
                  <c:v>120</c:v>
                </c:pt>
                <c:pt idx="140">
                  <c:v>114</c:v>
                </c:pt>
                <c:pt idx="141">
                  <c:v>69</c:v>
                </c:pt>
                <c:pt idx="142">
                  <c:v>56</c:v>
                </c:pt>
                <c:pt idx="143">
                  <c:v>151</c:v>
                </c:pt>
                <c:pt idx="144">
                  <c:v>152</c:v>
                </c:pt>
                <c:pt idx="145">
                  <c:v>118</c:v>
                </c:pt>
                <c:pt idx="146">
                  <c:v>101</c:v>
                </c:pt>
                <c:pt idx="147">
                  <c:v>121</c:v>
                </c:pt>
                <c:pt idx="148">
                  <c:v>74</c:v>
                </c:pt>
                <c:pt idx="149">
                  <c:v>36</c:v>
                </c:pt>
                <c:pt idx="150">
                  <c:v>162</c:v>
                </c:pt>
                <c:pt idx="151">
                  <c:v>123</c:v>
                </c:pt>
                <c:pt idx="152">
                  <c:v>128</c:v>
                </c:pt>
                <c:pt idx="153">
                  <c:v>114</c:v>
                </c:pt>
                <c:pt idx="154">
                  <c:v>113</c:v>
                </c:pt>
                <c:pt idx="155">
                  <c:v>64</c:v>
                </c:pt>
                <c:pt idx="156">
                  <c:v>35</c:v>
                </c:pt>
                <c:pt idx="157">
                  <c:v>160</c:v>
                </c:pt>
                <c:pt idx="158">
                  <c:v>125</c:v>
                </c:pt>
                <c:pt idx="159">
                  <c:v>115</c:v>
                </c:pt>
                <c:pt idx="160">
                  <c:v>111</c:v>
                </c:pt>
                <c:pt idx="161">
                  <c:v>110</c:v>
                </c:pt>
                <c:pt idx="162">
                  <c:v>58</c:v>
                </c:pt>
                <c:pt idx="163">
                  <c:v>38</c:v>
                </c:pt>
                <c:pt idx="164">
                  <c:v>167</c:v>
                </c:pt>
                <c:pt idx="165">
                  <c:v>135</c:v>
                </c:pt>
                <c:pt idx="166">
                  <c:v>105</c:v>
                </c:pt>
                <c:pt idx="167">
                  <c:v>104</c:v>
                </c:pt>
                <c:pt idx="168">
                  <c:v>89</c:v>
                </c:pt>
                <c:pt idx="169">
                  <c:v>44</c:v>
                </c:pt>
                <c:pt idx="170">
                  <c:v>35</c:v>
                </c:pt>
                <c:pt idx="171">
                  <c:v>171</c:v>
                </c:pt>
                <c:pt idx="172">
                  <c:v>102</c:v>
                </c:pt>
                <c:pt idx="173">
                  <c:v>94</c:v>
                </c:pt>
                <c:pt idx="174">
                  <c:v>67</c:v>
                </c:pt>
                <c:pt idx="175">
                  <c:v>72</c:v>
                </c:pt>
                <c:pt idx="176">
                  <c:v>39</c:v>
                </c:pt>
                <c:pt idx="177">
                  <c:v>24</c:v>
                </c:pt>
                <c:pt idx="178">
                  <c:v>102</c:v>
                </c:pt>
                <c:pt idx="179">
                  <c:v>70</c:v>
                </c:pt>
                <c:pt idx="180">
                  <c:v>63</c:v>
                </c:pt>
                <c:pt idx="181">
                  <c:v>83</c:v>
                </c:pt>
                <c:pt idx="182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2.0981596668658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10.21</c:v>
                </c:pt>
                <c:pt idx="1">
                  <c:v>09.10.21</c:v>
                </c:pt>
                <c:pt idx="2">
                  <c:v>10.10.21</c:v>
                </c:pt>
                <c:pt idx="3">
                  <c:v>11.10.21</c:v>
                </c:pt>
                <c:pt idx="4">
                  <c:v>12.10.21</c:v>
                </c:pt>
                <c:pt idx="5">
                  <c:v>13.10.21</c:v>
                </c:pt>
                <c:pt idx="6">
                  <c:v>14.10.21</c:v>
                </c:pt>
                <c:pt idx="7">
                  <c:v>15.10.21</c:v>
                </c:pt>
                <c:pt idx="8">
                  <c:v>16.10.21</c:v>
                </c:pt>
                <c:pt idx="9">
                  <c:v>17.10.21</c:v>
                </c:pt>
                <c:pt idx="10">
                  <c:v>18.10.21</c:v>
                </c:pt>
                <c:pt idx="11">
                  <c:v>19.10.21</c:v>
                </c:pt>
                <c:pt idx="12">
                  <c:v>20.10.21</c:v>
                </c:pt>
                <c:pt idx="13">
                  <c:v>21.10.21</c:v>
                </c:pt>
                <c:pt idx="14">
                  <c:v>22.10.21</c:v>
                </c:pt>
                <c:pt idx="15">
                  <c:v>23.10.21</c:v>
                </c:pt>
                <c:pt idx="16">
                  <c:v>24.10.21</c:v>
                </c:pt>
                <c:pt idx="17">
                  <c:v>25.10.21</c:v>
                </c:pt>
                <c:pt idx="18">
                  <c:v>26.10.21</c:v>
                </c:pt>
                <c:pt idx="19">
                  <c:v>27.10.21</c:v>
                </c:pt>
                <c:pt idx="20">
                  <c:v>28.10.21</c:v>
                </c:pt>
                <c:pt idx="21">
                  <c:v>29.10.21</c:v>
                </c:pt>
                <c:pt idx="22">
                  <c:v>30.10.21</c:v>
                </c:pt>
                <c:pt idx="23">
                  <c:v>31.10.21</c:v>
                </c:pt>
                <c:pt idx="24">
                  <c:v>01.11.21</c:v>
                </c:pt>
                <c:pt idx="25">
                  <c:v>02.11.21</c:v>
                </c:pt>
                <c:pt idx="26">
                  <c:v>03.11.21</c:v>
                </c:pt>
                <c:pt idx="27">
                  <c:v>04.11.21</c:v>
                </c:pt>
                <c:pt idx="28">
                  <c:v>05.11.21</c:v>
                </c:pt>
                <c:pt idx="29">
                  <c:v>06.11.21</c:v>
                </c:pt>
                <c:pt idx="30">
                  <c:v>07.11.21</c:v>
                </c:pt>
                <c:pt idx="31">
                  <c:v>08.11.21</c:v>
                </c:pt>
                <c:pt idx="32">
                  <c:v>09.11.21</c:v>
                </c:pt>
                <c:pt idx="33">
                  <c:v>10.11.21</c:v>
                </c:pt>
                <c:pt idx="34">
                  <c:v>11.11.21</c:v>
                </c:pt>
                <c:pt idx="35">
                  <c:v>12.11.21</c:v>
                </c:pt>
                <c:pt idx="36">
                  <c:v>13.11.21</c:v>
                </c:pt>
                <c:pt idx="37">
                  <c:v>14.11.21</c:v>
                </c:pt>
                <c:pt idx="38">
                  <c:v>15.11.21</c:v>
                </c:pt>
                <c:pt idx="39">
                  <c:v>16.11.21</c:v>
                </c:pt>
                <c:pt idx="40">
                  <c:v>17.11.21</c:v>
                </c:pt>
                <c:pt idx="41">
                  <c:v>18.11.21</c:v>
                </c:pt>
                <c:pt idx="42">
                  <c:v>19.11.21</c:v>
                </c:pt>
                <c:pt idx="43">
                  <c:v>20.11.21</c:v>
                </c:pt>
                <c:pt idx="44">
                  <c:v>21.11.21</c:v>
                </c:pt>
                <c:pt idx="45">
                  <c:v>22.11.21</c:v>
                </c:pt>
                <c:pt idx="46">
                  <c:v>23.11.21</c:v>
                </c:pt>
                <c:pt idx="47">
                  <c:v>24.11.21</c:v>
                </c:pt>
                <c:pt idx="48">
                  <c:v>25.11.21</c:v>
                </c:pt>
                <c:pt idx="49">
                  <c:v>26.11.21</c:v>
                </c:pt>
                <c:pt idx="50">
                  <c:v>27.11.21</c:v>
                </c:pt>
                <c:pt idx="51">
                  <c:v>28.11.21</c:v>
                </c:pt>
                <c:pt idx="52">
                  <c:v>29.11.21</c:v>
                </c:pt>
                <c:pt idx="53">
                  <c:v>30.11.21</c:v>
                </c:pt>
                <c:pt idx="54">
                  <c:v>01.12.21</c:v>
                </c:pt>
                <c:pt idx="55">
                  <c:v>02.12.21</c:v>
                </c:pt>
                <c:pt idx="56">
                  <c:v>03.12.21</c:v>
                </c:pt>
                <c:pt idx="57">
                  <c:v>04.12.21</c:v>
                </c:pt>
                <c:pt idx="58">
                  <c:v>05.12.21</c:v>
                </c:pt>
                <c:pt idx="59">
                  <c:v>06.12.21</c:v>
                </c:pt>
                <c:pt idx="60">
                  <c:v>07.12.21</c:v>
                </c:pt>
                <c:pt idx="61">
                  <c:v>08.12.21</c:v>
                </c:pt>
                <c:pt idx="62">
                  <c:v>09.12.21</c:v>
                </c:pt>
                <c:pt idx="63">
                  <c:v>10.12.21</c:v>
                </c:pt>
                <c:pt idx="64">
                  <c:v>11.12.21</c:v>
                </c:pt>
                <c:pt idx="65">
                  <c:v>12.12.21</c:v>
                </c:pt>
                <c:pt idx="66">
                  <c:v>13.12.21</c:v>
                </c:pt>
                <c:pt idx="67">
                  <c:v>14.12.21</c:v>
                </c:pt>
                <c:pt idx="68">
                  <c:v>15.12.21</c:v>
                </c:pt>
                <c:pt idx="69">
                  <c:v>16.12.21</c:v>
                </c:pt>
                <c:pt idx="70">
                  <c:v>17.12.21</c:v>
                </c:pt>
                <c:pt idx="71">
                  <c:v>18.12.21</c:v>
                </c:pt>
                <c:pt idx="72">
                  <c:v>19.12.21</c:v>
                </c:pt>
                <c:pt idx="73">
                  <c:v>20.12.21</c:v>
                </c:pt>
                <c:pt idx="74">
                  <c:v>21.12.21</c:v>
                </c:pt>
                <c:pt idx="75">
                  <c:v>22.12.21</c:v>
                </c:pt>
                <c:pt idx="76">
                  <c:v>23.12.21</c:v>
                </c:pt>
                <c:pt idx="77">
                  <c:v>24.12.21</c:v>
                </c:pt>
                <c:pt idx="78">
                  <c:v>25.12.21</c:v>
                </c:pt>
                <c:pt idx="79">
                  <c:v>26.12.21</c:v>
                </c:pt>
                <c:pt idx="80">
                  <c:v>27.12.21</c:v>
                </c:pt>
                <c:pt idx="81">
                  <c:v>28.12.21</c:v>
                </c:pt>
                <c:pt idx="82">
                  <c:v>29.12.21</c:v>
                </c:pt>
                <c:pt idx="83">
                  <c:v>30.12.21</c:v>
                </c:pt>
                <c:pt idx="84">
                  <c:v>31.12.21</c:v>
                </c:pt>
                <c:pt idx="85">
                  <c:v>01.01.22</c:v>
                </c:pt>
                <c:pt idx="86">
                  <c:v>02.01.22</c:v>
                </c:pt>
                <c:pt idx="87">
                  <c:v>03.01.22</c:v>
                </c:pt>
                <c:pt idx="88">
                  <c:v>04.01.22</c:v>
                </c:pt>
                <c:pt idx="89">
                  <c:v>05.01.22</c:v>
                </c:pt>
                <c:pt idx="90">
                  <c:v>06.01.22</c:v>
                </c:pt>
                <c:pt idx="91">
                  <c:v>07.01.22</c:v>
                </c:pt>
                <c:pt idx="92">
                  <c:v>08.01.22</c:v>
                </c:pt>
                <c:pt idx="93">
                  <c:v>09.01.22</c:v>
                </c:pt>
                <c:pt idx="94">
                  <c:v>10.01.22</c:v>
                </c:pt>
                <c:pt idx="95">
                  <c:v>11.01.22</c:v>
                </c:pt>
                <c:pt idx="96">
                  <c:v>12.01.22</c:v>
                </c:pt>
                <c:pt idx="97">
                  <c:v>13.01.22</c:v>
                </c:pt>
                <c:pt idx="98">
                  <c:v>14.01.22</c:v>
                </c:pt>
                <c:pt idx="99">
                  <c:v>15.01.22</c:v>
                </c:pt>
                <c:pt idx="100">
                  <c:v>16.01.22</c:v>
                </c:pt>
                <c:pt idx="101">
                  <c:v>17.01.22</c:v>
                </c:pt>
                <c:pt idx="102">
                  <c:v>18.01.22</c:v>
                </c:pt>
                <c:pt idx="103">
                  <c:v>19.01.22</c:v>
                </c:pt>
                <c:pt idx="104">
                  <c:v>20.01.22</c:v>
                </c:pt>
                <c:pt idx="105">
                  <c:v>21.01.22</c:v>
                </c:pt>
                <c:pt idx="106">
                  <c:v>22.01.22</c:v>
                </c:pt>
                <c:pt idx="107">
                  <c:v>23.01.22</c:v>
                </c:pt>
                <c:pt idx="108">
                  <c:v>24.01.22</c:v>
                </c:pt>
                <c:pt idx="109">
                  <c:v>25.01.22</c:v>
                </c:pt>
                <c:pt idx="110">
                  <c:v>26.01.22</c:v>
                </c:pt>
                <c:pt idx="111">
                  <c:v>27.01.22</c:v>
                </c:pt>
                <c:pt idx="112">
                  <c:v>28.01.22</c:v>
                </c:pt>
                <c:pt idx="113">
                  <c:v>29.01.22</c:v>
                </c:pt>
                <c:pt idx="114">
                  <c:v>30.01.22</c:v>
                </c:pt>
                <c:pt idx="115">
                  <c:v>31.01.22</c:v>
                </c:pt>
                <c:pt idx="116">
                  <c:v>01.02.22</c:v>
                </c:pt>
                <c:pt idx="117">
                  <c:v>02.02.22</c:v>
                </c:pt>
                <c:pt idx="118">
                  <c:v>03.02.22</c:v>
                </c:pt>
                <c:pt idx="119">
                  <c:v>04.02.22</c:v>
                </c:pt>
                <c:pt idx="120">
                  <c:v>05.02.22</c:v>
                </c:pt>
                <c:pt idx="121">
                  <c:v>06.02.22</c:v>
                </c:pt>
                <c:pt idx="122">
                  <c:v>07.02.22</c:v>
                </c:pt>
                <c:pt idx="123">
                  <c:v>08.02.22</c:v>
                </c:pt>
                <c:pt idx="124">
                  <c:v>09.02.22</c:v>
                </c:pt>
                <c:pt idx="125">
                  <c:v>10.02.22</c:v>
                </c:pt>
                <c:pt idx="126">
                  <c:v>11.02.22</c:v>
                </c:pt>
                <c:pt idx="127">
                  <c:v>12.02.22</c:v>
                </c:pt>
                <c:pt idx="128">
                  <c:v>13.02.22</c:v>
                </c:pt>
                <c:pt idx="129">
                  <c:v>14.02.22</c:v>
                </c:pt>
                <c:pt idx="130">
                  <c:v>15.02.22</c:v>
                </c:pt>
                <c:pt idx="131">
                  <c:v>16.02.22</c:v>
                </c:pt>
                <c:pt idx="132">
                  <c:v>17.02.22</c:v>
                </c:pt>
                <c:pt idx="133">
                  <c:v>18.02.22</c:v>
                </c:pt>
                <c:pt idx="134">
                  <c:v>19.02.22</c:v>
                </c:pt>
                <c:pt idx="135">
                  <c:v>20.02.22</c:v>
                </c:pt>
                <c:pt idx="136">
                  <c:v>21.02.22</c:v>
                </c:pt>
                <c:pt idx="137">
                  <c:v>22.02.22</c:v>
                </c:pt>
                <c:pt idx="138">
                  <c:v>23.02.22</c:v>
                </c:pt>
                <c:pt idx="139">
                  <c:v>24.02.22</c:v>
                </c:pt>
                <c:pt idx="140">
                  <c:v>25.02.22</c:v>
                </c:pt>
                <c:pt idx="141">
                  <c:v>26.02.22</c:v>
                </c:pt>
                <c:pt idx="142">
                  <c:v>27.02.22</c:v>
                </c:pt>
                <c:pt idx="143">
                  <c:v>28.02.22</c:v>
                </c:pt>
                <c:pt idx="144">
                  <c:v>01.03.22</c:v>
                </c:pt>
                <c:pt idx="145">
                  <c:v>02.03.22</c:v>
                </c:pt>
                <c:pt idx="146">
                  <c:v>03.03.22</c:v>
                </c:pt>
                <c:pt idx="147">
                  <c:v>04.03.22</c:v>
                </c:pt>
                <c:pt idx="148">
                  <c:v>05.03.22</c:v>
                </c:pt>
                <c:pt idx="149">
                  <c:v>06.03.22</c:v>
                </c:pt>
                <c:pt idx="150">
                  <c:v>07.03.22</c:v>
                </c:pt>
                <c:pt idx="151">
                  <c:v>08.03.22</c:v>
                </c:pt>
                <c:pt idx="152">
                  <c:v>09.03.22</c:v>
                </c:pt>
                <c:pt idx="153">
                  <c:v>10.03.22</c:v>
                </c:pt>
                <c:pt idx="154">
                  <c:v>11.03.22</c:v>
                </c:pt>
                <c:pt idx="155">
                  <c:v>12.03.22</c:v>
                </c:pt>
                <c:pt idx="156">
                  <c:v>13.03.22</c:v>
                </c:pt>
                <c:pt idx="157">
                  <c:v>14.03.22</c:v>
                </c:pt>
                <c:pt idx="158">
                  <c:v>15.03.22</c:v>
                </c:pt>
                <c:pt idx="159">
                  <c:v>16.03.22</c:v>
                </c:pt>
                <c:pt idx="160">
                  <c:v>17.03.22</c:v>
                </c:pt>
                <c:pt idx="161">
                  <c:v>18.03.22</c:v>
                </c:pt>
                <c:pt idx="162">
                  <c:v>19.03.22</c:v>
                </c:pt>
                <c:pt idx="163">
                  <c:v>20.03.22</c:v>
                </c:pt>
                <c:pt idx="164">
                  <c:v>21.03.22</c:v>
                </c:pt>
                <c:pt idx="165">
                  <c:v>22.03.22</c:v>
                </c:pt>
                <c:pt idx="166">
                  <c:v>23.03.22</c:v>
                </c:pt>
                <c:pt idx="167">
                  <c:v>24.03.22</c:v>
                </c:pt>
                <c:pt idx="168">
                  <c:v>25.03.22</c:v>
                </c:pt>
                <c:pt idx="169">
                  <c:v>26.03.22</c:v>
                </c:pt>
                <c:pt idx="170">
                  <c:v>27.03.22</c:v>
                </c:pt>
                <c:pt idx="171">
                  <c:v>28.03.22</c:v>
                </c:pt>
                <c:pt idx="172">
                  <c:v>29.03.22</c:v>
                </c:pt>
                <c:pt idx="173">
                  <c:v>30.03.22</c:v>
                </c:pt>
                <c:pt idx="174">
                  <c:v>31.03.22</c:v>
                </c:pt>
                <c:pt idx="175">
                  <c:v>01.04.22</c:v>
                </c:pt>
                <c:pt idx="176">
                  <c:v>02.04.22</c:v>
                </c:pt>
                <c:pt idx="177">
                  <c:v>03.04.22</c:v>
                </c:pt>
                <c:pt idx="178">
                  <c:v>04.04.22</c:v>
                </c:pt>
                <c:pt idx="179">
                  <c:v>05.04.22</c:v>
                </c:pt>
                <c:pt idx="180">
                  <c:v>06.04.22</c:v>
                </c:pt>
                <c:pt idx="181">
                  <c:v>07.04.22</c:v>
                </c:pt>
                <c:pt idx="182">
                  <c:v>08.04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9</c:v>
                </c:pt>
                <c:pt idx="1">
                  <c:v>7</c:v>
                </c:pt>
                <c:pt idx="2">
                  <c:v>5</c:v>
                </c:pt>
                <c:pt idx="3">
                  <c:v>19</c:v>
                </c:pt>
                <c:pt idx="4">
                  <c:v>31</c:v>
                </c:pt>
                <c:pt idx="5">
                  <c:v>19</c:v>
                </c:pt>
                <c:pt idx="6">
                  <c:v>16</c:v>
                </c:pt>
                <c:pt idx="7">
                  <c:v>14</c:v>
                </c:pt>
                <c:pt idx="8">
                  <c:v>9</c:v>
                </c:pt>
                <c:pt idx="9">
                  <c:v>13</c:v>
                </c:pt>
                <c:pt idx="10">
                  <c:v>38</c:v>
                </c:pt>
                <c:pt idx="11">
                  <c:v>54</c:v>
                </c:pt>
                <c:pt idx="12">
                  <c:v>48</c:v>
                </c:pt>
                <c:pt idx="13">
                  <c:v>54</c:v>
                </c:pt>
                <c:pt idx="14">
                  <c:v>43</c:v>
                </c:pt>
                <c:pt idx="15">
                  <c:v>27</c:v>
                </c:pt>
                <c:pt idx="16">
                  <c:v>20</c:v>
                </c:pt>
                <c:pt idx="17">
                  <c:v>76</c:v>
                </c:pt>
                <c:pt idx="18">
                  <c:v>83</c:v>
                </c:pt>
                <c:pt idx="19">
                  <c:v>65</c:v>
                </c:pt>
                <c:pt idx="20">
                  <c:v>40</c:v>
                </c:pt>
                <c:pt idx="21">
                  <c:v>78</c:v>
                </c:pt>
                <c:pt idx="22">
                  <c:v>52</c:v>
                </c:pt>
                <c:pt idx="23">
                  <c:v>39</c:v>
                </c:pt>
                <c:pt idx="24">
                  <c:v>130</c:v>
                </c:pt>
                <c:pt idx="25">
                  <c:v>130</c:v>
                </c:pt>
                <c:pt idx="26">
                  <c:v>103</c:v>
                </c:pt>
                <c:pt idx="27">
                  <c:v>106</c:v>
                </c:pt>
                <c:pt idx="28">
                  <c:v>128</c:v>
                </c:pt>
                <c:pt idx="29">
                  <c:v>53</c:v>
                </c:pt>
                <c:pt idx="30">
                  <c:v>37</c:v>
                </c:pt>
                <c:pt idx="31">
                  <c:v>127</c:v>
                </c:pt>
                <c:pt idx="32">
                  <c:v>138</c:v>
                </c:pt>
                <c:pt idx="33">
                  <c:v>142</c:v>
                </c:pt>
                <c:pt idx="34">
                  <c:v>115</c:v>
                </c:pt>
                <c:pt idx="35">
                  <c:v>160</c:v>
                </c:pt>
                <c:pt idx="36">
                  <c:v>94</c:v>
                </c:pt>
                <c:pt idx="37">
                  <c:v>50</c:v>
                </c:pt>
                <c:pt idx="38">
                  <c:v>158</c:v>
                </c:pt>
                <c:pt idx="39">
                  <c:v>193</c:v>
                </c:pt>
                <c:pt idx="40">
                  <c:v>140</c:v>
                </c:pt>
                <c:pt idx="41">
                  <c:v>157</c:v>
                </c:pt>
                <c:pt idx="42">
                  <c:v>246</c:v>
                </c:pt>
                <c:pt idx="43">
                  <c:v>117</c:v>
                </c:pt>
                <c:pt idx="44">
                  <c:v>87</c:v>
                </c:pt>
                <c:pt idx="45">
                  <c:v>198</c:v>
                </c:pt>
                <c:pt idx="46">
                  <c:v>207</c:v>
                </c:pt>
                <c:pt idx="47">
                  <c:v>172</c:v>
                </c:pt>
                <c:pt idx="48">
                  <c:v>251</c:v>
                </c:pt>
                <c:pt idx="49">
                  <c:v>143</c:v>
                </c:pt>
                <c:pt idx="50">
                  <c:v>109</c:v>
                </c:pt>
                <c:pt idx="51">
                  <c:v>84</c:v>
                </c:pt>
                <c:pt idx="52">
                  <c:v>198</c:v>
                </c:pt>
                <c:pt idx="53">
                  <c:v>186</c:v>
                </c:pt>
                <c:pt idx="54">
                  <c:v>162</c:v>
                </c:pt>
                <c:pt idx="55">
                  <c:v>126</c:v>
                </c:pt>
                <c:pt idx="56">
                  <c:v>154</c:v>
                </c:pt>
                <c:pt idx="57">
                  <c:v>95</c:v>
                </c:pt>
                <c:pt idx="58">
                  <c:v>62</c:v>
                </c:pt>
                <c:pt idx="59">
                  <c:v>186</c:v>
                </c:pt>
                <c:pt idx="60">
                  <c:v>158</c:v>
                </c:pt>
                <c:pt idx="61">
                  <c:v>132</c:v>
                </c:pt>
                <c:pt idx="62">
                  <c:v>112</c:v>
                </c:pt>
                <c:pt idx="63">
                  <c:v>90</c:v>
                </c:pt>
                <c:pt idx="64">
                  <c:v>76</c:v>
                </c:pt>
                <c:pt idx="65">
                  <c:v>60</c:v>
                </c:pt>
                <c:pt idx="66">
                  <c:v>116</c:v>
                </c:pt>
                <c:pt idx="67">
                  <c:v>166</c:v>
                </c:pt>
                <c:pt idx="68">
                  <c:v>89</c:v>
                </c:pt>
                <c:pt idx="69">
                  <c:v>89</c:v>
                </c:pt>
                <c:pt idx="70">
                  <c:v>91</c:v>
                </c:pt>
                <c:pt idx="71">
                  <c:v>57</c:v>
                </c:pt>
                <c:pt idx="72">
                  <c:v>41</c:v>
                </c:pt>
                <c:pt idx="73">
                  <c:v>99</c:v>
                </c:pt>
                <c:pt idx="74">
                  <c:v>93</c:v>
                </c:pt>
                <c:pt idx="75">
                  <c:v>44</c:v>
                </c:pt>
                <c:pt idx="76">
                  <c:v>67</c:v>
                </c:pt>
                <c:pt idx="77">
                  <c:v>21</c:v>
                </c:pt>
                <c:pt idx="78">
                  <c:v>13</c:v>
                </c:pt>
                <c:pt idx="79">
                  <c:v>21</c:v>
                </c:pt>
                <c:pt idx="80">
                  <c:v>69</c:v>
                </c:pt>
                <c:pt idx="81">
                  <c:v>93</c:v>
                </c:pt>
                <c:pt idx="82">
                  <c:v>59</c:v>
                </c:pt>
                <c:pt idx="83">
                  <c:v>58</c:v>
                </c:pt>
                <c:pt idx="84">
                  <c:v>74</c:v>
                </c:pt>
                <c:pt idx="85">
                  <c:v>12</c:v>
                </c:pt>
                <c:pt idx="86">
                  <c:v>21</c:v>
                </c:pt>
                <c:pt idx="87">
                  <c:v>92</c:v>
                </c:pt>
                <c:pt idx="88">
                  <c:v>87</c:v>
                </c:pt>
                <c:pt idx="89">
                  <c:v>69</c:v>
                </c:pt>
                <c:pt idx="90">
                  <c:v>67</c:v>
                </c:pt>
                <c:pt idx="91">
                  <c:v>64</c:v>
                </c:pt>
                <c:pt idx="92">
                  <c:v>29</c:v>
                </c:pt>
                <c:pt idx="93">
                  <c:v>27</c:v>
                </c:pt>
                <c:pt idx="94">
                  <c:v>78</c:v>
                </c:pt>
                <c:pt idx="95">
                  <c:v>106</c:v>
                </c:pt>
                <c:pt idx="96">
                  <c:v>89</c:v>
                </c:pt>
                <c:pt idx="97">
                  <c:v>74</c:v>
                </c:pt>
                <c:pt idx="98">
                  <c:v>95</c:v>
                </c:pt>
                <c:pt idx="99">
                  <c:v>59</c:v>
                </c:pt>
                <c:pt idx="100">
                  <c:v>55</c:v>
                </c:pt>
                <c:pt idx="101">
                  <c:v>183</c:v>
                </c:pt>
                <c:pt idx="102">
                  <c:v>192</c:v>
                </c:pt>
                <c:pt idx="103">
                  <c:v>225</c:v>
                </c:pt>
                <c:pt idx="104">
                  <c:v>222</c:v>
                </c:pt>
                <c:pt idx="105">
                  <c:v>208</c:v>
                </c:pt>
                <c:pt idx="106">
                  <c:v>144</c:v>
                </c:pt>
                <c:pt idx="107">
                  <c:v>114</c:v>
                </c:pt>
                <c:pt idx="108">
                  <c:v>288</c:v>
                </c:pt>
                <c:pt idx="109">
                  <c:v>318</c:v>
                </c:pt>
                <c:pt idx="110">
                  <c:v>404</c:v>
                </c:pt>
                <c:pt idx="111">
                  <c:v>315</c:v>
                </c:pt>
                <c:pt idx="112">
                  <c:v>416</c:v>
                </c:pt>
                <c:pt idx="113">
                  <c:v>151</c:v>
                </c:pt>
                <c:pt idx="114">
                  <c:v>172</c:v>
                </c:pt>
                <c:pt idx="115">
                  <c:v>369</c:v>
                </c:pt>
                <c:pt idx="116">
                  <c:v>483</c:v>
                </c:pt>
                <c:pt idx="117">
                  <c:v>358</c:v>
                </c:pt>
                <c:pt idx="118">
                  <c:v>355</c:v>
                </c:pt>
                <c:pt idx="119">
                  <c:v>295</c:v>
                </c:pt>
                <c:pt idx="120">
                  <c:v>185</c:v>
                </c:pt>
                <c:pt idx="121">
                  <c:v>110</c:v>
                </c:pt>
                <c:pt idx="122">
                  <c:v>427</c:v>
                </c:pt>
                <c:pt idx="123">
                  <c:v>361</c:v>
                </c:pt>
                <c:pt idx="124">
                  <c:v>304</c:v>
                </c:pt>
                <c:pt idx="125">
                  <c:v>255</c:v>
                </c:pt>
                <c:pt idx="126">
                  <c:v>218</c:v>
                </c:pt>
                <c:pt idx="127">
                  <c:v>122</c:v>
                </c:pt>
                <c:pt idx="128">
                  <c:v>88</c:v>
                </c:pt>
                <c:pt idx="129">
                  <c:v>246</c:v>
                </c:pt>
                <c:pt idx="130">
                  <c:v>260</c:v>
                </c:pt>
                <c:pt idx="131">
                  <c:v>169</c:v>
                </c:pt>
                <c:pt idx="132">
                  <c:v>154</c:v>
                </c:pt>
                <c:pt idx="133">
                  <c:v>143</c:v>
                </c:pt>
                <c:pt idx="134">
                  <c:v>78</c:v>
                </c:pt>
                <c:pt idx="135">
                  <c:v>50</c:v>
                </c:pt>
                <c:pt idx="136">
                  <c:v>191</c:v>
                </c:pt>
                <c:pt idx="137">
                  <c:v>146</c:v>
                </c:pt>
                <c:pt idx="138">
                  <c:v>112</c:v>
                </c:pt>
                <c:pt idx="139">
                  <c:v>126</c:v>
                </c:pt>
                <c:pt idx="140">
                  <c:v>97</c:v>
                </c:pt>
                <c:pt idx="141">
                  <c:v>60</c:v>
                </c:pt>
                <c:pt idx="142">
                  <c:v>42</c:v>
                </c:pt>
                <c:pt idx="143">
                  <c:v>159</c:v>
                </c:pt>
                <c:pt idx="144">
                  <c:v>134</c:v>
                </c:pt>
                <c:pt idx="145">
                  <c:v>104</c:v>
                </c:pt>
                <c:pt idx="146">
                  <c:v>101</c:v>
                </c:pt>
                <c:pt idx="147">
                  <c:v>78</c:v>
                </c:pt>
                <c:pt idx="148">
                  <c:v>53</c:v>
                </c:pt>
                <c:pt idx="149">
                  <c:v>33</c:v>
                </c:pt>
                <c:pt idx="150">
                  <c:v>152</c:v>
                </c:pt>
                <c:pt idx="151">
                  <c:v>126</c:v>
                </c:pt>
                <c:pt idx="152">
                  <c:v>128</c:v>
                </c:pt>
                <c:pt idx="153">
                  <c:v>95</c:v>
                </c:pt>
                <c:pt idx="154">
                  <c:v>87</c:v>
                </c:pt>
                <c:pt idx="155">
                  <c:v>45</c:v>
                </c:pt>
                <c:pt idx="156">
                  <c:v>35</c:v>
                </c:pt>
                <c:pt idx="157">
                  <c:v>160</c:v>
                </c:pt>
                <c:pt idx="158">
                  <c:v>125</c:v>
                </c:pt>
                <c:pt idx="159">
                  <c:v>104</c:v>
                </c:pt>
                <c:pt idx="160">
                  <c:v>96</c:v>
                </c:pt>
                <c:pt idx="161">
                  <c:v>113</c:v>
                </c:pt>
                <c:pt idx="162">
                  <c:v>46</c:v>
                </c:pt>
                <c:pt idx="163">
                  <c:v>26</c:v>
                </c:pt>
                <c:pt idx="164">
                  <c:v>154</c:v>
                </c:pt>
                <c:pt idx="165">
                  <c:v>115</c:v>
                </c:pt>
                <c:pt idx="166">
                  <c:v>112</c:v>
                </c:pt>
                <c:pt idx="167">
                  <c:v>84</c:v>
                </c:pt>
                <c:pt idx="168">
                  <c:v>78</c:v>
                </c:pt>
                <c:pt idx="169">
                  <c:v>41</c:v>
                </c:pt>
                <c:pt idx="170">
                  <c:v>38</c:v>
                </c:pt>
                <c:pt idx="171">
                  <c:v>127</c:v>
                </c:pt>
                <c:pt idx="172">
                  <c:v>124</c:v>
                </c:pt>
                <c:pt idx="173">
                  <c:v>73</c:v>
                </c:pt>
                <c:pt idx="174">
                  <c:v>65</c:v>
                </c:pt>
                <c:pt idx="175">
                  <c:v>58</c:v>
                </c:pt>
                <c:pt idx="176">
                  <c:v>34</c:v>
                </c:pt>
                <c:pt idx="177">
                  <c:v>20</c:v>
                </c:pt>
                <c:pt idx="178">
                  <c:v>99</c:v>
                </c:pt>
                <c:pt idx="179">
                  <c:v>70</c:v>
                </c:pt>
                <c:pt idx="180">
                  <c:v>66</c:v>
                </c:pt>
                <c:pt idx="181">
                  <c:v>65</c:v>
                </c:pt>
                <c:pt idx="182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77</c:v>
                </c:pt>
                <c:pt idx="1">
                  <c:v>44478</c:v>
                </c:pt>
                <c:pt idx="2">
                  <c:v>44479</c:v>
                </c:pt>
                <c:pt idx="3">
                  <c:v>44480</c:v>
                </c:pt>
                <c:pt idx="4">
                  <c:v>44481</c:v>
                </c:pt>
                <c:pt idx="5">
                  <c:v>44482</c:v>
                </c:pt>
                <c:pt idx="6">
                  <c:v>44483</c:v>
                </c:pt>
                <c:pt idx="7">
                  <c:v>44484</c:v>
                </c:pt>
                <c:pt idx="8">
                  <c:v>44485</c:v>
                </c:pt>
                <c:pt idx="9">
                  <c:v>44486</c:v>
                </c:pt>
                <c:pt idx="10">
                  <c:v>44487</c:v>
                </c:pt>
                <c:pt idx="11">
                  <c:v>44488</c:v>
                </c:pt>
                <c:pt idx="12">
                  <c:v>44489</c:v>
                </c:pt>
                <c:pt idx="13">
                  <c:v>44490</c:v>
                </c:pt>
                <c:pt idx="14">
                  <c:v>44491</c:v>
                </c:pt>
                <c:pt idx="15">
                  <c:v>44492</c:v>
                </c:pt>
                <c:pt idx="16">
                  <c:v>44493</c:v>
                </c:pt>
                <c:pt idx="17">
                  <c:v>44494</c:v>
                </c:pt>
                <c:pt idx="18">
                  <c:v>44495</c:v>
                </c:pt>
                <c:pt idx="19">
                  <c:v>44496</c:v>
                </c:pt>
                <c:pt idx="20">
                  <c:v>44497</c:v>
                </c:pt>
                <c:pt idx="21">
                  <c:v>44498</c:v>
                </c:pt>
                <c:pt idx="22">
                  <c:v>44499</c:v>
                </c:pt>
                <c:pt idx="23">
                  <c:v>44500</c:v>
                </c:pt>
                <c:pt idx="24">
                  <c:v>44501</c:v>
                </c:pt>
                <c:pt idx="25">
                  <c:v>44502</c:v>
                </c:pt>
                <c:pt idx="26">
                  <c:v>44503</c:v>
                </c:pt>
                <c:pt idx="27">
                  <c:v>44504</c:v>
                </c:pt>
                <c:pt idx="28">
                  <c:v>44505</c:v>
                </c:pt>
                <c:pt idx="29">
                  <c:v>44506</c:v>
                </c:pt>
                <c:pt idx="30">
                  <c:v>44507</c:v>
                </c:pt>
                <c:pt idx="31">
                  <c:v>44508</c:v>
                </c:pt>
                <c:pt idx="32">
                  <c:v>44509</c:v>
                </c:pt>
                <c:pt idx="33">
                  <c:v>44510</c:v>
                </c:pt>
                <c:pt idx="34">
                  <c:v>44511</c:v>
                </c:pt>
                <c:pt idx="35">
                  <c:v>44512</c:v>
                </c:pt>
                <c:pt idx="36">
                  <c:v>44513</c:v>
                </c:pt>
                <c:pt idx="37">
                  <c:v>44514</c:v>
                </c:pt>
                <c:pt idx="38">
                  <c:v>44515</c:v>
                </c:pt>
                <c:pt idx="39">
                  <c:v>44516</c:v>
                </c:pt>
                <c:pt idx="40">
                  <c:v>44517</c:v>
                </c:pt>
                <c:pt idx="41">
                  <c:v>44518</c:v>
                </c:pt>
                <c:pt idx="42">
                  <c:v>44519</c:v>
                </c:pt>
                <c:pt idx="43">
                  <c:v>44520</c:v>
                </c:pt>
                <c:pt idx="44">
                  <c:v>44521</c:v>
                </c:pt>
                <c:pt idx="45">
                  <c:v>44522</c:v>
                </c:pt>
                <c:pt idx="46">
                  <c:v>44523</c:v>
                </c:pt>
                <c:pt idx="47">
                  <c:v>44524</c:v>
                </c:pt>
                <c:pt idx="48">
                  <c:v>44525</c:v>
                </c:pt>
                <c:pt idx="49">
                  <c:v>44526</c:v>
                </c:pt>
                <c:pt idx="50">
                  <c:v>44527</c:v>
                </c:pt>
                <c:pt idx="51">
                  <c:v>44528</c:v>
                </c:pt>
                <c:pt idx="52">
                  <c:v>44529</c:v>
                </c:pt>
                <c:pt idx="53">
                  <c:v>44530</c:v>
                </c:pt>
                <c:pt idx="54">
                  <c:v>44531</c:v>
                </c:pt>
                <c:pt idx="55">
                  <c:v>44532</c:v>
                </c:pt>
                <c:pt idx="56">
                  <c:v>44533</c:v>
                </c:pt>
                <c:pt idx="57">
                  <c:v>44534</c:v>
                </c:pt>
                <c:pt idx="58">
                  <c:v>44535</c:v>
                </c:pt>
                <c:pt idx="59">
                  <c:v>44536</c:v>
                </c:pt>
                <c:pt idx="60">
                  <c:v>44537</c:v>
                </c:pt>
                <c:pt idx="61">
                  <c:v>44538</c:v>
                </c:pt>
                <c:pt idx="62">
                  <c:v>44539</c:v>
                </c:pt>
                <c:pt idx="63">
                  <c:v>44540</c:v>
                </c:pt>
                <c:pt idx="64">
                  <c:v>44541</c:v>
                </c:pt>
                <c:pt idx="65">
                  <c:v>44542</c:v>
                </c:pt>
                <c:pt idx="66">
                  <c:v>44543</c:v>
                </c:pt>
                <c:pt idx="67">
                  <c:v>44544</c:v>
                </c:pt>
                <c:pt idx="68">
                  <c:v>44545</c:v>
                </c:pt>
                <c:pt idx="69">
                  <c:v>44546</c:v>
                </c:pt>
                <c:pt idx="70">
                  <c:v>44547</c:v>
                </c:pt>
                <c:pt idx="71">
                  <c:v>44548</c:v>
                </c:pt>
                <c:pt idx="72">
                  <c:v>44549</c:v>
                </c:pt>
                <c:pt idx="73">
                  <c:v>44550</c:v>
                </c:pt>
                <c:pt idx="74">
                  <c:v>44551</c:v>
                </c:pt>
                <c:pt idx="75">
                  <c:v>44552</c:v>
                </c:pt>
                <c:pt idx="76">
                  <c:v>44553</c:v>
                </c:pt>
                <c:pt idx="77">
                  <c:v>44554</c:v>
                </c:pt>
                <c:pt idx="78">
                  <c:v>44555</c:v>
                </c:pt>
                <c:pt idx="79">
                  <c:v>44556</c:v>
                </c:pt>
                <c:pt idx="80">
                  <c:v>44557</c:v>
                </c:pt>
                <c:pt idx="81">
                  <c:v>44558</c:v>
                </c:pt>
                <c:pt idx="82">
                  <c:v>44559</c:v>
                </c:pt>
                <c:pt idx="83">
                  <c:v>44560</c:v>
                </c:pt>
                <c:pt idx="84">
                  <c:v>44561</c:v>
                </c:pt>
                <c:pt idx="85">
                  <c:v>44562</c:v>
                </c:pt>
                <c:pt idx="86">
                  <c:v>44563</c:v>
                </c:pt>
                <c:pt idx="87">
                  <c:v>44564</c:v>
                </c:pt>
                <c:pt idx="88">
                  <c:v>44565</c:v>
                </c:pt>
                <c:pt idx="89">
                  <c:v>44566</c:v>
                </c:pt>
                <c:pt idx="90">
                  <c:v>44567</c:v>
                </c:pt>
                <c:pt idx="91">
                  <c:v>44568</c:v>
                </c:pt>
                <c:pt idx="92">
                  <c:v>44569</c:v>
                </c:pt>
                <c:pt idx="93">
                  <c:v>44570</c:v>
                </c:pt>
                <c:pt idx="94">
                  <c:v>44571</c:v>
                </c:pt>
                <c:pt idx="95">
                  <c:v>44572</c:v>
                </c:pt>
                <c:pt idx="96">
                  <c:v>44573</c:v>
                </c:pt>
                <c:pt idx="97">
                  <c:v>44574</c:v>
                </c:pt>
                <c:pt idx="98">
                  <c:v>44575</c:v>
                </c:pt>
                <c:pt idx="99">
                  <c:v>44576</c:v>
                </c:pt>
                <c:pt idx="100">
                  <c:v>44577</c:v>
                </c:pt>
                <c:pt idx="101">
                  <c:v>44578</c:v>
                </c:pt>
                <c:pt idx="102">
                  <c:v>44579</c:v>
                </c:pt>
                <c:pt idx="103">
                  <c:v>44580</c:v>
                </c:pt>
                <c:pt idx="104">
                  <c:v>44581</c:v>
                </c:pt>
                <c:pt idx="105">
                  <c:v>44582</c:v>
                </c:pt>
                <c:pt idx="106">
                  <c:v>44583</c:v>
                </c:pt>
                <c:pt idx="107">
                  <c:v>44584</c:v>
                </c:pt>
                <c:pt idx="108">
                  <c:v>44585</c:v>
                </c:pt>
                <c:pt idx="109">
                  <c:v>44586</c:v>
                </c:pt>
                <c:pt idx="110">
                  <c:v>44587</c:v>
                </c:pt>
                <c:pt idx="111">
                  <c:v>44588</c:v>
                </c:pt>
                <c:pt idx="112">
                  <c:v>44589</c:v>
                </c:pt>
                <c:pt idx="113">
                  <c:v>44590</c:v>
                </c:pt>
                <c:pt idx="114">
                  <c:v>44591</c:v>
                </c:pt>
                <c:pt idx="115">
                  <c:v>44592</c:v>
                </c:pt>
                <c:pt idx="116">
                  <c:v>44593</c:v>
                </c:pt>
                <c:pt idx="117">
                  <c:v>44594</c:v>
                </c:pt>
                <c:pt idx="118">
                  <c:v>44595</c:v>
                </c:pt>
                <c:pt idx="119">
                  <c:v>44596</c:v>
                </c:pt>
                <c:pt idx="120">
                  <c:v>44597</c:v>
                </c:pt>
                <c:pt idx="121">
                  <c:v>44598</c:v>
                </c:pt>
                <c:pt idx="122">
                  <c:v>44599</c:v>
                </c:pt>
                <c:pt idx="123">
                  <c:v>44600</c:v>
                </c:pt>
                <c:pt idx="124">
                  <c:v>44601</c:v>
                </c:pt>
                <c:pt idx="125">
                  <c:v>44602</c:v>
                </c:pt>
                <c:pt idx="126">
                  <c:v>44603</c:v>
                </c:pt>
                <c:pt idx="127">
                  <c:v>44604</c:v>
                </c:pt>
                <c:pt idx="128">
                  <c:v>44605</c:v>
                </c:pt>
                <c:pt idx="129">
                  <c:v>44606</c:v>
                </c:pt>
                <c:pt idx="130">
                  <c:v>44607</c:v>
                </c:pt>
                <c:pt idx="131">
                  <c:v>44608</c:v>
                </c:pt>
                <c:pt idx="132">
                  <c:v>44609</c:v>
                </c:pt>
                <c:pt idx="133">
                  <c:v>44610</c:v>
                </c:pt>
                <c:pt idx="134">
                  <c:v>44611</c:v>
                </c:pt>
                <c:pt idx="135">
                  <c:v>44612</c:v>
                </c:pt>
                <c:pt idx="136">
                  <c:v>44613</c:v>
                </c:pt>
                <c:pt idx="137">
                  <c:v>44614</c:v>
                </c:pt>
                <c:pt idx="138">
                  <c:v>44615</c:v>
                </c:pt>
                <c:pt idx="139">
                  <c:v>44616</c:v>
                </c:pt>
                <c:pt idx="140">
                  <c:v>44617</c:v>
                </c:pt>
                <c:pt idx="141">
                  <c:v>44618</c:v>
                </c:pt>
                <c:pt idx="142">
                  <c:v>44619</c:v>
                </c:pt>
                <c:pt idx="143">
                  <c:v>44620</c:v>
                </c:pt>
                <c:pt idx="144">
                  <c:v>44621</c:v>
                </c:pt>
                <c:pt idx="145">
                  <c:v>44622</c:v>
                </c:pt>
                <c:pt idx="146">
                  <c:v>44623</c:v>
                </c:pt>
                <c:pt idx="147">
                  <c:v>44624</c:v>
                </c:pt>
                <c:pt idx="148">
                  <c:v>44625</c:v>
                </c:pt>
                <c:pt idx="149">
                  <c:v>44626</c:v>
                </c:pt>
                <c:pt idx="150">
                  <c:v>44627</c:v>
                </c:pt>
                <c:pt idx="151">
                  <c:v>44628</c:v>
                </c:pt>
                <c:pt idx="152">
                  <c:v>44629</c:v>
                </c:pt>
                <c:pt idx="153">
                  <c:v>44630</c:v>
                </c:pt>
                <c:pt idx="154">
                  <c:v>44631</c:v>
                </c:pt>
                <c:pt idx="155">
                  <c:v>44632</c:v>
                </c:pt>
                <c:pt idx="156">
                  <c:v>44633</c:v>
                </c:pt>
                <c:pt idx="157">
                  <c:v>44634</c:v>
                </c:pt>
                <c:pt idx="158">
                  <c:v>44635</c:v>
                </c:pt>
                <c:pt idx="159">
                  <c:v>44636</c:v>
                </c:pt>
                <c:pt idx="160">
                  <c:v>44637</c:v>
                </c:pt>
                <c:pt idx="161">
                  <c:v>44638</c:v>
                </c:pt>
                <c:pt idx="162">
                  <c:v>44639</c:v>
                </c:pt>
                <c:pt idx="163">
                  <c:v>44640</c:v>
                </c:pt>
                <c:pt idx="164">
                  <c:v>44641</c:v>
                </c:pt>
                <c:pt idx="165">
                  <c:v>44642</c:v>
                </c:pt>
                <c:pt idx="166">
                  <c:v>44643</c:v>
                </c:pt>
                <c:pt idx="167">
                  <c:v>44644</c:v>
                </c:pt>
                <c:pt idx="168">
                  <c:v>44645</c:v>
                </c:pt>
                <c:pt idx="169">
                  <c:v>44646</c:v>
                </c:pt>
                <c:pt idx="170">
                  <c:v>44647</c:v>
                </c:pt>
                <c:pt idx="171">
                  <c:v>44648</c:v>
                </c:pt>
                <c:pt idx="172">
                  <c:v>44649</c:v>
                </c:pt>
                <c:pt idx="173">
                  <c:v>44650</c:v>
                </c:pt>
                <c:pt idx="174">
                  <c:v>44651</c:v>
                </c:pt>
                <c:pt idx="175">
                  <c:v>44652</c:v>
                </c:pt>
                <c:pt idx="176">
                  <c:v>44653</c:v>
                </c:pt>
                <c:pt idx="177">
                  <c:v>44654</c:v>
                </c:pt>
                <c:pt idx="178">
                  <c:v>44655</c:v>
                </c:pt>
                <c:pt idx="179">
                  <c:v>44656</c:v>
                </c:pt>
                <c:pt idx="180">
                  <c:v>44657</c:v>
                </c:pt>
                <c:pt idx="181">
                  <c:v>44658</c:v>
                </c:pt>
                <c:pt idx="182">
                  <c:v>44659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1</c:v>
                </c:pt>
                <c:pt idx="6">
                  <c:v>3</c:v>
                </c:pt>
                <c:pt idx="7">
                  <c:v>7</c:v>
                </c:pt>
                <c:pt idx="8">
                  <c:v>2</c:v>
                </c:pt>
                <c:pt idx="9">
                  <c:v>1</c:v>
                </c:pt>
                <c:pt idx="10">
                  <c:v>12</c:v>
                </c:pt>
                <c:pt idx="11">
                  <c:v>8</c:v>
                </c:pt>
                <c:pt idx="12">
                  <c:v>11</c:v>
                </c:pt>
                <c:pt idx="13">
                  <c:v>7</c:v>
                </c:pt>
                <c:pt idx="14">
                  <c:v>12</c:v>
                </c:pt>
                <c:pt idx="15">
                  <c:v>0</c:v>
                </c:pt>
                <c:pt idx="16">
                  <c:v>4</c:v>
                </c:pt>
                <c:pt idx="17">
                  <c:v>20</c:v>
                </c:pt>
                <c:pt idx="18">
                  <c:v>6</c:v>
                </c:pt>
                <c:pt idx="19">
                  <c:v>18</c:v>
                </c:pt>
                <c:pt idx="20">
                  <c:v>3</c:v>
                </c:pt>
                <c:pt idx="21">
                  <c:v>8</c:v>
                </c:pt>
                <c:pt idx="22">
                  <c:v>5</c:v>
                </c:pt>
                <c:pt idx="23">
                  <c:v>4</c:v>
                </c:pt>
                <c:pt idx="24">
                  <c:v>41</c:v>
                </c:pt>
                <c:pt idx="25">
                  <c:v>26</c:v>
                </c:pt>
                <c:pt idx="26">
                  <c:v>21</c:v>
                </c:pt>
                <c:pt idx="27">
                  <c:v>25</c:v>
                </c:pt>
                <c:pt idx="28">
                  <c:v>27</c:v>
                </c:pt>
                <c:pt idx="29">
                  <c:v>13</c:v>
                </c:pt>
                <c:pt idx="30">
                  <c:v>5</c:v>
                </c:pt>
                <c:pt idx="31">
                  <c:v>55</c:v>
                </c:pt>
                <c:pt idx="32">
                  <c:v>30</c:v>
                </c:pt>
                <c:pt idx="33">
                  <c:v>31</c:v>
                </c:pt>
                <c:pt idx="34">
                  <c:v>38</c:v>
                </c:pt>
                <c:pt idx="35">
                  <c:v>35</c:v>
                </c:pt>
                <c:pt idx="36">
                  <c:v>20</c:v>
                </c:pt>
                <c:pt idx="37">
                  <c:v>14</c:v>
                </c:pt>
                <c:pt idx="38">
                  <c:v>59</c:v>
                </c:pt>
                <c:pt idx="39">
                  <c:v>35</c:v>
                </c:pt>
                <c:pt idx="40">
                  <c:v>15</c:v>
                </c:pt>
                <c:pt idx="41">
                  <c:v>43</c:v>
                </c:pt>
                <c:pt idx="42">
                  <c:v>53</c:v>
                </c:pt>
                <c:pt idx="43">
                  <c:v>13</c:v>
                </c:pt>
                <c:pt idx="44">
                  <c:v>7</c:v>
                </c:pt>
                <c:pt idx="45">
                  <c:v>75</c:v>
                </c:pt>
                <c:pt idx="46">
                  <c:v>44</c:v>
                </c:pt>
                <c:pt idx="47">
                  <c:v>49</c:v>
                </c:pt>
                <c:pt idx="48">
                  <c:v>49</c:v>
                </c:pt>
                <c:pt idx="49">
                  <c:v>51</c:v>
                </c:pt>
                <c:pt idx="50">
                  <c:v>22</c:v>
                </c:pt>
                <c:pt idx="51">
                  <c:v>7</c:v>
                </c:pt>
                <c:pt idx="52">
                  <c:v>44</c:v>
                </c:pt>
                <c:pt idx="53">
                  <c:v>49</c:v>
                </c:pt>
                <c:pt idx="54">
                  <c:v>43</c:v>
                </c:pt>
                <c:pt idx="55">
                  <c:v>33</c:v>
                </c:pt>
                <c:pt idx="56">
                  <c:v>30</c:v>
                </c:pt>
                <c:pt idx="57">
                  <c:v>21</c:v>
                </c:pt>
                <c:pt idx="58">
                  <c:v>10</c:v>
                </c:pt>
                <c:pt idx="59">
                  <c:v>50</c:v>
                </c:pt>
                <c:pt idx="60">
                  <c:v>37</c:v>
                </c:pt>
                <c:pt idx="61">
                  <c:v>35</c:v>
                </c:pt>
                <c:pt idx="62">
                  <c:v>27</c:v>
                </c:pt>
                <c:pt idx="63">
                  <c:v>20</c:v>
                </c:pt>
                <c:pt idx="64">
                  <c:v>13</c:v>
                </c:pt>
                <c:pt idx="65">
                  <c:v>9</c:v>
                </c:pt>
                <c:pt idx="66">
                  <c:v>35</c:v>
                </c:pt>
                <c:pt idx="67">
                  <c:v>37</c:v>
                </c:pt>
                <c:pt idx="68">
                  <c:v>27</c:v>
                </c:pt>
                <c:pt idx="69">
                  <c:v>18</c:v>
                </c:pt>
                <c:pt idx="70">
                  <c:v>16</c:v>
                </c:pt>
                <c:pt idx="71">
                  <c:v>8</c:v>
                </c:pt>
                <c:pt idx="72">
                  <c:v>10</c:v>
                </c:pt>
                <c:pt idx="73">
                  <c:v>28</c:v>
                </c:pt>
                <c:pt idx="74">
                  <c:v>13</c:v>
                </c:pt>
                <c:pt idx="75">
                  <c:v>10</c:v>
                </c:pt>
                <c:pt idx="76">
                  <c:v>4</c:v>
                </c:pt>
                <c:pt idx="77">
                  <c:v>7</c:v>
                </c:pt>
                <c:pt idx="78">
                  <c:v>3</c:v>
                </c:pt>
                <c:pt idx="79">
                  <c:v>5</c:v>
                </c:pt>
                <c:pt idx="80">
                  <c:v>10</c:v>
                </c:pt>
                <c:pt idx="81">
                  <c:v>17</c:v>
                </c:pt>
                <c:pt idx="82">
                  <c:v>10</c:v>
                </c:pt>
                <c:pt idx="83">
                  <c:v>10</c:v>
                </c:pt>
                <c:pt idx="84">
                  <c:v>6</c:v>
                </c:pt>
                <c:pt idx="85">
                  <c:v>1</c:v>
                </c:pt>
                <c:pt idx="86">
                  <c:v>5</c:v>
                </c:pt>
                <c:pt idx="87">
                  <c:v>21</c:v>
                </c:pt>
                <c:pt idx="88">
                  <c:v>14</c:v>
                </c:pt>
                <c:pt idx="89">
                  <c:v>5</c:v>
                </c:pt>
                <c:pt idx="90">
                  <c:v>9</c:v>
                </c:pt>
                <c:pt idx="91">
                  <c:v>11</c:v>
                </c:pt>
                <c:pt idx="92">
                  <c:v>3</c:v>
                </c:pt>
                <c:pt idx="93">
                  <c:v>3</c:v>
                </c:pt>
                <c:pt idx="94">
                  <c:v>18</c:v>
                </c:pt>
                <c:pt idx="95">
                  <c:v>11</c:v>
                </c:pt>
                <c:pt idx="96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6</c:v>
                </c:pt>
                <c:pt idx="100">
                  <c:v>11</c:v>
                </c:pt>
                <c:pt idx="101">
                  <c:v>47</c:v>
                </c:pt>
                <c:pt idx="102">
                  <c:v>36</c:v>
                </c:pt>
                <c:pt idx="103">
                  <c:v>45</c:v>
                </c:pt>
                <c:pt idx="104">
                  <c:v>48</c:v>
                </c:pt>
                <c:pt idx="105">
                  <c:v>69</c:v>
                </c:pt>
                <c:pt idx="106">
                  <c:v>20</c:v>
                </c:pt>
                <c:pt idx="107">
                  <c:v>16</c:v>
                </c:pt>
                <c:pt idx="108">
                  <c:v>99</c:v>
                </c:pt>
                <c:pt idx="109">
                  <c:v>105</c:v>
                </c:pt>
                <c:pt idx="110">
                  <c:v>101</c:v>
                </c:pt>
                <c:pt idx="111">
                  <c:v>60</c:v>
                </c:pt>
                <c:pt idx="112">
                  <c:v>72</c:v>
                </c:pt>
                <c:pt idx="113">
                  <c:v>30</c:v>
                </c:pt>
                <c:pt idx="114">
                  <c:v>32</c:v>
                </c:pt>
                <c:pt idx="115">
                  <c:v>118</c:v>
                </c:pt>
                <c:pt idx="116">
                  <c:v>118</c:v>
                </c:pt>
                <c:pt idx="117">
                  <c:v>83</c:v>
                </c:pt>
                <c:pt idx="118">
                  <c:v>71</c:v>
                </c:pt>
                <c:pt idx="119">
                  <c:v>84</c:v>
                </c:pt>
                <c:pt idx="120">
                  <c:v>32</c:v>
                </c:pt>
                <c:pt idx="121">
                  <c:v>26</c:v>
                </c:pt>
                <c:pt idx="122">
                  <c:v>133</c:v>
                </c:pt>
                <c:pt idx="123">
                  <c:v>91</c:v>
                </c:pt>
                <c:pt idx="124">
                  <c:v>65</c:v>
                </c:pt>
                <c:pt idx="125">
                  <c:v>70</c:v>
                </c:pt>
                <c:pt idx="126">
                  <c:v>51</c:v>
                </c:pt>
                <c:pt idx="127">
                  <c:v>22</c:v>
                </c:pt>
                <c:pt idx="128">
                  <c:v>27</c:v>
                </c:pt>
                <c:pt idx="129">
                  <c:v>91</c:v>
                </c:pt>
                <c:pt idx="130">
                  <c:v>75</c:v>
                </c:pt>
                <c:pt idx="131">
                  <c:v>69</c:v>
                </c:pt>
                <c:pt idx="132">
                  <c:v>40</c:v>
                </c:pt>
                <c:pt idx="133">
                  <c:v>30</c:v>
                </c:pt>
                <c:pt idx="134">
                  <c:v>24</c:v>
                </c:pt>
                <c:pt idx="135">
                  <c:v>11</c:v>
                </c:pt>
                <c:pt idx="136">
                  <c:v>67</c:v>
                </c:pt>
                <c:pt idx="137">
                  <c:v>39</c:v>
                </c:pt>
                <c:pt idx="138">
                  <c:v>40</c:v>
                </c:pt>
                <c:pt idx="139">
                  <c:v>34</c:v>
                </c:pt>
                <c:pt idx="140">
                  <c:v>26</c:v>
                </c:pt>
                <c:pt idx="141">
                  <c:v>11</c:v>
                </c:pt>
                <c:pt idx="142">
                  <c:v>12</c:v>
                </c:pt>
                <c:pt idx="143">
                  <c:v>44</c:v>
                </c:pt>
                <c:pt idx="144">
                  <c:v>32</c:v>
                </c:pt>
                <c:pt idx="145">
                  <c:v>25</c:v>
                </c:pt>
                <c:pt idx="146">
                  <c:v>21</c:v>
                </c:pt>
                <c:pt idx="147">
                  <c:v>16</c:v>
                </c:pt>
                <c:pt idx="148">
                  <c:v>12</c:v>
                </c:pt>
                <c:pt idx="149">
                  <c:v>5</c:v>
                </c:pt>
                <c:pt idx="150">
                  <c:v>46</c:v>
                </c:pt>
                <c:pt idx="151">
                  <c:v>30</c:v>
                </c:pt>
                <c:pt idx="152">
                  <c:v>30</c:v>
                </c:pt>
                <c:pt idx="153">
                  <c:v>17</c:v>
                </c:pt>
                <c:pt idx="154">
                  <c:v>31</c:v>
                </c:pt>
                <c:pt idx="155">
                  <c:v>6</c:v>
                </c:pt>
                <c:pt idx="156">
                  <c:v>9</c:v>
                </c:pt>
                <c:pt idx="157">
                  <c:v>42</c:v>
                </c:pt>
                <c:pt idx="158">
                  <c:v>28</c:v>
                </c:pt>
                <c:pt idx="159">
                  <c:v>19</c:v>
                </c:pt>
                <c:pt idx="160" formatCode="General">
                  <c:v>16</c:v>
                </c:pt>
                <c:pt idx="161" formatCode="General">
                  <c:v>26</c:v>
                </c:pt>
                <c:pt idx="162" formatCode="General">
                  <c:v>7</c:v>
                </c:pt>
                <c:pt idx="163" formatCode="General">
                  <c:v>8</c:v>
                </c:pt>
                <c:pt idx="164" formatCode="General">
                  <c:v>46</c:v>
                </c:pt>
                <c:pt idx="165" formatCode="General">
                  <c:v>31</c:v>
                </c:pt>
                <c:pt idx="166" formatCode="General">
                  <c:v>29</c:v>
                </c:pt>
                <c:pt idx="167" formatCode="General">
                  <c:v>17</c:v>
                </c:pt>
                <c:pt idx="168" formatCode="General">
                  <c:v>18</c:v>
                </c:pt>
                <c:pt idx="169" formatCode="General">
                  <c:v>1</c:v>
                </c:pt>
                <c:pt idx="170" formatCode="General">
                  <c:v>9</c:v>
                </c:pt>
                <c:pt idx="171" formatCode="General">
                  <c:v>25</c:v>
                </c:pt>
                <c:pt idx="172" formatCode="General">
                  <c:v>24</c:v>
                </c:pt>
                <c:pt idx="173" formatCode="General">
                  <c:v>20</c:v>
                </c:pt>
                <c:pt idx="174" formatCode="General">
                  <c:v>21</c:v>
                </c:pt>
                <c:pt idx="175" formatCode="General">
                  <c:v>12</c:v>
                </c:pt>
                <c:pt idx="176" formatCode="General">
                  <c:v>9</c:v>
                </c:pt>
                <c:pt idx="177" formatCode="General">
                  <c:v>1</c:v>
                </c:pt>
                <c:pt idx="178" formatCode="General">
                  <c:v>20</c:v>
                </c:pt>
                <c:pt idx="179" formatCode="General">
                  <c:v>14</c:v>
                </c:pt>
                <c:pt idx="180" formatCode="General">
                  <c:v>6</c:v>
                </c:pt>
                <c:pt idx="181" formatCode="General">
                  <c:v>7</c:v>
                </c:pt>
                <c:pt idx="182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G$2:$G$247</c:f>
              <c:numCache>
                <c:formatCode>General</c:formatCode>
                <c:ptCount val="246"/>
                <c:pt idx="0">
                  <c:v>15</c:v>
                </c:pt>
                <c:pt idx="1">
                  <c:v>10</c:v>
                </c:pt>
                <c:pt idx="2">
                  <c:v>14</c:v>
                </c:pt>
                <c:pt idx="3">
                  <c:v>7</c:v>
                </c:pt>
                <c:pt idx="4">
                  <c:v>10</c:v>
                </c:pt>
                <c:pt idx="5">
                  <c:v>17</c:v>
                </c:pt>
                <c:pt idx="6">
                  <c:v>13</c:v>
                </c:pt>
                <c:pt idx="7">
                  <c:v>15</c:v>
                </c:pt>
                <c:pt idx="8">
                  <c:v>16</c:v>
                </c:pt>
                <c:pt idx="9">
                  <c:v>13</c:v>
                </c:pt>
                <c:pt idx="10">
                  <c:v>12</c:v>
                </c:pt>
                <c:pt idx="11">
                  <c:v>17</c:v>
                </c:pt>
                <c:pt idx="12">
                  <c:v>29</c:v>
                </c:pt>
                <c:pt idx="13">
                  <c:v>25</c:v>
                </c:pt>
                <c:pt idx="14">
                  <c:v>17</c:v>
                </c:pt>
                <c:pt idx="15">
                  <c:v>19</c:v>
                </c:pt>
                <c:pt idx="16">
                  <c:v>31</c:v>
                </c:pt>
                <c:pt idx="17">
                  <c:v>9</c:v>
                </c:pt>
                <c:pt idx="18">
                  <c:v>14</c:v>
                </c:pt>
                <c:pt idx="19">
                  <c:v>23</c:v>
                </c:pt>
                <c:pt idx="20">
                  <c:v>19</c:v>
                </c:pt>
                <c:pt idx="21">
                  <c:v>17</c:v>
                </c:pt>
                <c:pt idx="22">
                  <c:v>21</c:v>
                </c:pt>
                <c:pt idx="23">
                  <c:v>27</c:v>
                </c:pt>
                <c:pt idx="24">
                  <c:v>20</c:v>
                </c:pt>
                <c:pt idx="25">
                  <c:v>16</c:v>
                </c:pt>
                <c:pt idx="26">
                  <c:v>34</c:v>
                </c:pt>
                <c:pt idx="27">
                  <c:v>16</c:v>
                </c:pt>
                <c:pt idx="28">
                  <c:v>36</c:v>
                </c:pt>
                <c:pt idx="29">
                  <c:v>32</c:v>
                </c:pt>
                <c:pt idx="30">
                  <c:v>31</c:v>
                </c:pt>
                <c:pt idx="31">
                  <c:v>27</c:v>
                </c:pt>
                <c:pt idx="32">
                  <c:v>25</c:v>
                </c:pt>
                <c:pt idx="33">
                  <c:v>53</c:v>
                </c:pt>
                <c:pt idx="34">
                  <c:v>40</c:v>
                </c:pt>
                <c:pt idx="35">
                  <c:v>54</c:v>
                </c:pt>
                <c:pt idx="36">
                  <c:v>39</c:v>
                </c:pt>
                <c:pt idx="37">
                  <c:v>51</c:v>
                </c:pt>
                <c:pt idx="38">
                  <c:v>30</c:v>
                </c:pt>
                <c:pt idx="39">
                  <c:v>34</c:v>
                </c:pt>
                <c:pt idx="40">
                  <c:v>80</c:v>
                </c:pt>
                <c:pt idx="41">
                  <c:v>62</c:v>
                </c:pt>
                <c:pt idx="42">
                  <c:v>63</c:v>
                </c:pt>
                <c:pt idx="43">
                  <c:v>57</c:v>
                </c:pt>
                <c:pt idx="44">
                  <c:v>82</c:v>
                </c:pt>
                <c:pt idx="45">
                  <c:v>70</c:v>
                </c:pt>
                <c:pt idx="46">
                  <c:v>52</c:v>
                </c:pt>
                <c:pt idx="47">
                  <c:v>136</c:v>
                </c:pt>
                <c:pt idx="48">
                  <c:v>150</c:v>
                </c:pt>
                <c:pt idx="49">
                  <c:v>117</c:v>
                </c:pt>
                <c:pt idx="50">
                  <c:v>134</c:v>
                </c:pt>
                <c:pt idx="51">
                  <c:v>160</c:v>
                </c:pt>
                <c:pt idx="52">
                  <c:v>112</c:v>
                </c:pt>
                <c:pt idx="53">
                  <c:v>110</c:v>
                </c:pt>
                <c:pt idx="54">
                  <c:v>218</c:v>
                </c:pt>
                <c:pt idx="55">
                  <c:v>262</c:v>
                </c:pt>
                <c:pt idx="56">
                  <c:v>240</c:v>
                </c:pt>
                <c:pt idx="57">
                  <c:v>170</c:v>
                </c:pt>
                <c:pt idx="58">
                  <c:v>270</c:v>
                </c:pt>
                <c:pt idx="59">
                  <c:v>189</c:v>
                </c:pt>
                <c:pt idx="60">
                  <c:v>203</c:v>
                </c:pt>
                <c:pt idx="61">
                  <c:v>413</c:v>
                </c:pt>
                <c:pt idx="62">
                  <c:v>396</c:v>
                </c:pt>
                <c:pt idx="63">
                  <c:v>385</c:v>
                </c:pt>
                <c:pt idx="64">
                  <c:v>385</c:v>
                </c:pt>
                <c:pt idx="65">
                  <c:v>359</c:v>
                </c:pt>
                <c:pt idx="66">
                  <c:v>280</c:v>
                </c:pt>
                <c:pt idx="67">
                  <c:v>279</c:v>
                </c:pt>
                <c:pt idx="68">
                  <c:v>537</c:v>
                </c:pt>
                <c:pt idx="69">
                  <c:v>547</c:v>
                </c:pt>
                <c:pt idx="70">
                  <c:v>468</c:v>
                </c:pt>
                <c:pt idx="71">
                  <c:v>494</c:v>
                </c:pt>
                <c:pt idx="72">
                  <c:v>532</c:v>
                </c:pt>
                <c:pt idx="73">
                  <c:v>376</c:v>
                </c:pt>
                <c:pt idx="74">
                  <c:v>342</c:v>
                </c:pt>
                <c:pt idx="75">
                  <c:v>739</c:v>
                </c:pt>
                <c:pt idx="76">
                  <c:v>664</c:v>
                </c:pt>
                <c:pt idx="77">
                  <c:v>473</c:v>
                </c:pt>
                <c:pt idx="78">
                  <c:v>641</c:v>
                </c:pt>
                <c:pt idx="79">
                  <c:v>695</c:v>
                </c:pt>
                <c:pt idx="80">
                  <c:v>492</c:v>
                </c:pt>
                <c:pt idx="81">
                  <c:v>494</c:v>
                </c:pt>
                <c:pt idx="82">
                  <c:v>856</c:v>
                </c:pt>
                <c:pt idx="83">
                  <c:v>752</c:v>
                </c:pt>
                <c:pt idx="84">
                  <c:v>721</c:v>
                </c:pt>
                <c:pt idx="85">
                  <c:v>716</c:v>
                </c:pt>
                <c:pt idx="86">
                  <c:v>765</c:v>
                </c:pt>
                <c:pt idx="87">
                  <c:v>529</c:v>
                </c:pt>
                <c:pt idx="88">
                  <c:v>492</c:v>
                </c:pt>
                <c:pt idx="89">
                  <c:v>828</c:v>
                </c:pt>
                <c:pt idx="90">
                  <c:v>739</c:v>
                </c:pt>
                <c:pt idx="91">
                  <c:v>702</c:v>
                </c:pt>
                <c:pt idx="92">
                  <c:v>730</c:v>
                </c:pt>
                <c:pt idx="93">
                  <c:v>653</c:v>
                </c:pt>
                <c:pt idx="94">
                  <c:v>440</c:v>
                </c:pt>
                <c:pt idx="95">
                  <c:v>462</c:v>
                </c:pt>
                <c:pt idx="96">
                  <c:v>747</c:v>
                </c:pt>
                <c:pt idx="97">
                  <c:v>644</c:v>
                </c:pt>
                <c:pt idx="98">
                  <c:v>625</c:v>
                </c:pt>
                <c:pt idx="99">
                  <c:v>566</c:v>
                </c:pt>
                <c:pt idx="100">
                  <c:v>644</c:v>
                </c:pt>
                <c:pt idx="101">
                  <c:v>380</c:v>
                </c:pt>
                <c:pt idx="102">
                  <c:v>339</c:v>
                </c:pt>
                <c:pt idx="103">
                  <c:v>644</c:v>
                </c:pt>
                <c:pt idx="104">
                  <c:v>520</c:v>
                </c:pt>
                <c:pt idx="105">
                  <c:v>482</c:v>
                </c:pt>
                <c:pt idx="106">
                  <c:v>473</c:v>
                </c:pt>
                <c:pt idx="107">
                  <c:v>471</c:v>
                </c:pt>
                <c:pt idx="108">
                  <c:v>240</c:v>
                </c:pt>
                <c:pt idx="109">
                  <c:v>270</c:v>
                </c:pt>
                <c:pt idx="110">
                  <c:v>437</c:v>
                </c:pt>
                <c:pt idx="111">
                  <c:v>411</c:v>
                </c:pt>
                <c:pt idx="112">
                  <c:v>348</c:v>
                </c:pt>
                <c:pt idx="113">
                  <c:v>292</c:v>
                </c:pt>
                <c:pt idx="114">
                  <c:v>182</c:v>
                </c:pt>
                <c:pt idx="115">
                  <c:v>190</c:v>
                </c:pt>
                <c:pt idx="116">
                  <c:v>226</c:v>
                </c:pt>
                <c:pt idx="117">
                  <c:v>381</c:v>
                </c:pt>
                <c:pt idx="118">
                  <c:v>327</c:v>
                </c:pt>
                <c:pt idx="119">
                  <c:v>324</c:v>
                </c:pt>
                <c:pt idx="120">
                  <c:v>259</c:v>
                </c:pt>
                <c:pt idx="121">
                  <c:v>233</c:v>
                </c:pt>
                <c:pt idx="122">
                  <c:v>168</c:v>
                </c:pt>
                <c:pt idx="123">
                  <c:v>166</c:v>
                </c:pt>
                <c:pt idx="124">
                  <c:v>279</c:v>
                </c:pt>
                <c:pt idx="125">
                  <c:v>276</c:v>
                </c:pt>
                <c:pt idx="126">
                  <c:v>245</c:v>
                </c:pt>
                <c:pt idx="127">
                  <c:v>204</c:v>
                </c:pt>
                <c:pt idx="128">
                  <c:v>190</c:v>
                </c:pt>
                <c:pt idx="129">
                  <c:v>154</c:v>
                </c:pt>
                <c:pt idx="130">
                  <c:v>113</c:v>
                </c:pt>
                <c:pt idx="131">
                  <c:v>178</c:v>
                </c:pt>
                <c:pt idx="132">
                  <c:v>179</c:v>
                </c:pt>
                <c:pt idx="133">
                  <c:v>139</c:v>
                </c:pt>
                <c:pt idx="134">
                  <c:v>150</c:v>
                </c:pt>
                <c:pt idx="135">
                  <c:v>132</c:v>
                </c:pt>
                <c:pt idx="136">
                  <c:v>90</c:v>
                </c:pt>
                <c:pt idx="137">
                  <c:v>92</c:v>
                </c:pt>
                <c:pt idx="138">
                  <c:v>202</c:v>
                </c:pt>
                <c:pt idx="139">
                  <c:v>196</c:v>
                </c:pt>
                <c:pt idx="140">
                  <c:v>206</c:v>
                </c:pt>
                <c:pt idx="141">
                  <c:v>231</c:v>
                </c:pt>
                <c:pt idx="142">
                  <c:v>241</c:v>
                </c:pt>
                <c:pt idx="143">
                  <c:v>167</c:v>
                </c:pt>
                <c:pt idx="144">
                  <c:v>199</c:v>
                </c:pt>
                <c:pt idx="145">
                  <c:v>347</c:v>
                </c:pt>
                <c:pt idx="146">
                  <c:v>335</c:v>
                </c:pt>
                <c:pt idx="147">
                  <c:v>360</c:v>
                </c:pt>
                <c:pt idx="148">
                  <c:v>395</c:v>
                </c:pt>
                <c:pt idx="149">
                  <c:v>407</c:v>
                </c:pt>
                <c:pt idx="150">
                  <c:v>265</c:v>
                </c:pt>
                <c:pt idx="151">
                  <c:v>301</c:v>
                </c:pt>
                <c:pt idx="152">
                  <c:v>564</c:v>
                </c:pt>
                <c:pt idx="153">
                  <c:v>617</c:v>
                </c:pt>
                <c:pt idx="154">
                  <c:v>574</c:v>
                </c:pt>
                <c:pt idx="155">
                  <c:v>514</c:v>
                </c:pt>
                <c:pt idx="156">
                  <c:v>535</c:v>
                </c:pt>
                <c:pt idx="157">
                  <c:v>351</c:v>
                </c:pt>
                <c:pt idx="158">
                  <c:v>320</c:v>
                </c:pt>
                <c:pt idx="159">
                  <c:v>759</c:v>
                </c:pt>
                <c:pt idx="160">
                  <c:v>635</c:v>
                </c:pt>
                <c:pt idx="161">
                  <c:v>658</c:v>
                </c:pt>
                <c:pt idx="162">
                  <c:v>586</c:v>
                </c:pt>
                <c:pt idx="163">
                  <c:v>562</c:v>
                </c:pt>
                <c:pt idx="164">
                  <c:v>316</c:v>
                </c:pt>
                <c:pt idx="165">
                  <c:v>319</c:v>
                </c:pt>
                <c:pt idx="166">
                  <c:v>683</c:v>
                </c:pt>
                <c:pt idx="167">
                  <c:v>567</c:v>
                </c:pt>
                <c:pt idx="168">
                  <c:v>551</c:v>
                </c:pt>
                <c:pt idx="169">
                  <c:v>489</c:v>
                </c:pt>
                <c:pt idx="170">
                  <c:v>445</c:v>
                </c:pt>
                <c:pt idx="171">
                  <c:v>262</c:v>
                </c:pt>
                <c:pt idx="172">
                  <c:v>284</c:v>
                </c:pt>
                <c:pt idx="173">
                  <c:v>561</c:v>
                </c:pt>
                <c:pt idx="174">
                  <c:v>452</c:v>
                </c:pt>
                <c:pt idx="175">
                  <c:v>444</c:v>
                </c:pt>
                <c:pt idx="176">
                  <c:v>392</c:v>
                </c:pt>
                <c:pt idx="177">
                  <c:v>345</c:v>
                </c:pt>
                <c:pt idx="178">
                  <c:v>219</c:v>
                </c:pt>
                <c:pt idx="179">
                  <c:v>221</c:v>
                </c:pt>
                <c:pt idx="180">
                  <c:v>428</c:v>
                </c:pt>
                <c:pt idx="181">
                  <c:v>335</c:v>
                </c:pt>
                <c:pt idx="182">
                  <c:v>280</c:v>
                </c:pt>
                <c:pt idx="183">
                  <c:v>303</c:v>
                </c:pt>
                <c:pt idx="184">
                  <c:v>307</c:v>
                </c:pt>
                <c:pt idx="185">
                  <c:v>195</c:v>
                </c:pt>
                <c:pt idx="186">
                  <c:v>201</c:v>
                </c:pt>
                <c:pt idx="187">
                  <c:v>354</c:v>
                </c:pt>
                <c:pt idx="188">
                  <c:v>322</c:v>
                </c:pt>
                <c:pt idx="189">
                  <c:v>340</c:v>
                </c:pt>
                <c:pt idx="190">
                  <c:v>294</c:v>
                </c:pt>
                <c:pt idx="191">
                  <c:v>302</c:v>
                </c:pt>
                <c:pt idx="192">
                  <c:v>201</c:v>
                </c:pt>
                <c:pt idx="193">
                  <c:v>195</c:v>
                </c:pt>
                <c:pt idx="194">
                  <c:v>389</c:v>
                </c:pt>
                <c:pt idx="195">
                  <c:v>353</c:v>
                </c:pt>
                <c:pt idx="196">
                  <c:v>347</c:v>
                </c:pt>
                <c:pt idx="197">
                  <c:v>267</c:v>
                </c:pt>
                <c:pt idx="198">
                  <c:v>300</c:v>
                </c:pt>
                <c:pt idx="199">
                  <c:v>175</c:v>
                </c:pt>
                <c:pt idx="200">
                  <c:v>181</c:v>
                </c:pt>
                <c:pt idx="201">
                  <c:v>341</c:v>
                </c:pt>
                <c:pt idx="202">
                  <c:v>302</c:v>
                </c:pt>
                <c:pt idx="203">
                  <c:v>240</c:v>
                </c:pt>
                <c:pt idx="204">
                  <c:v>236</c:v>
                </c:pt>
                <c:pt idx="205">
                  <c:v>296</c:v>
                </c:pt>
                <c:pt idx="206">
                  <c:v>138</c:v>
                </c:pt>
                <c:pt idx="207">
                  <c:v>157</c:v>
                </c:pt>
                <c:pt idx="208">
                  <c:v>346</c:v>
                </c:pt>
                <c:pt idx="209">
                  <c:v>264</c:v>
                </c:pt>
                <c:pt idx="210">
                  <c:v>253</c:v>
                </c:pt>
                <c:pt idx="211">
                  <c:v>228</c:v>
                </c:pt>
                <c:pt idx="212">
                  <c:v>210</c:v>
                </c:pt>
                <c:pt idx="213">
                  <c:v>152</c:v>
                </c:pt>
                <c:pt idx="214">
                  <c:v>111</c:v>
                </c:pt>
                <c:pt idx="215">
                  <c:v>263</c:v>
                </c:pt>
                <c:pt idx="216">
                  <c:v>229</c:v>
                </c:pt>
                <c:pt idx="217">
                  <c:v>205</c:v>
                </c:pt>
                <c:pt idx="218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47</c:f>
              <c:numCache>
                <c:formatCode>General</c:formatCode>
                <c:ptCount val="246"/>
                <c:pt idx="0">
                  <c:v>10.906399302941281</c:v>
                </c:pt>
                <c:pt idx="1">
                  <c:v>11.006864666764159</c:v>
                </c:pt>
                <c:pt idx="2">
                  <c:v>11.101992696116213</c:v>
                </c:pt>
                <c:pt idx="3">
                  <c:v>11.191995222849073</c:v>
                </c:pt>
                <c:pt idx="4">
                  <c:v>11.277564086019993</c:v>
                </c:pt>
                <c:pt idx="5">
                  <c:v>11.359158608422149</c:v>
                </c:pt>
                <c:pt idx="6">
                  <c:v>11.436617888015462</c:v>
                </c:pt>
                <c:pt idx="7">
                  <c:v>11.509818893886404</c:v>
                </c:pt>
                <c:pt idx="8">
                  <c:v>11.646570369688561</c:v>
                </c:pt>
                <c:pt idx="9">
                  <c:v>11.832105954177678</c:v>
                </c:pt>
                <c:pt idx="10">
                  <c:v>12.057429218664765</c:v>
                </c:pt>
                <c:pt idx="11">
                  <c:v>12.3249115733488</c:v>
                </c:pt>
                <c:pt idx="12">
                  <c:v>12.640283588989405</c:v>
                </c:pt>
                <c:pt idx="13">
                  <c:v>13.008551528386306</c:v>
                </c:pt>
                <c:pt idx="14">
                  <c:v>13.434204052668065</c:v>
                </c:pt>
                <c:pt idx="15">
                  <c:v>13.919853186409455</c:v>
                </c:pt>
                <c:pt idx="16">
                  <c:v>14.466614060424035</c:v>
                </c:pt>
                <c:pt idx="17">
                  <c:v>15.073507064807927</c:v>
                </c:pt>
                <c:pt idx="18">
                  <c:v>15.741137303353753</c:v>
                </c:pt>
                <c:pt idx="19">
                  <c:v>16.47023853691644</c:v>
                </c:pt>
                <c:pt idx="20">
                  <c:v>17.260895341489231</c:v>
                </c:pt>
                <c:pt idx="21">
                  <c:v>18.113667795987567</c:v>
                </c:pt>
                <c:pt idx="22">
                  <c:v>19.029301282163942</c:v>
                </c:pt>
                <c:pt idx="23">
                  <c:v>20.009040144679602</c:v>
                </c:pt>
                <c:pt idx="24">
                  <c:v>21.054436782869743</c:v>
                </c:pt>
                <c:pt idx="25">
                  <c:v>22.167656561388867</c:v>
                </c:pt>
                <c:pt idx="26">
                  <c:v>23.351387520233402</c:v>
                </c:pt>
                <c:pt idx="27">
                  <c:v>24.607597469672328</c:v>
                </c:pt>
                <c:pt idx="28">
                  <c:v>25.938641413755249</c:v>
                </c:pt>
                <c:pt idx="29">
                  <c:v>27.347340981272282</c:v>
                </c:pt>
                <c:pt idx="30">
                  <c:v>28.836649939097697</c:v>
                </c:pt>
                <c:pt idx="31">
                  <c:v>30.409671522618737</c:v>
                </c:pt>
                <c:pt idx="32">
                  <c:v>32.070625837717671</c:v>
                </c:pt>
                <c:pt idx="33">
                  <c:v>33.823973100341391</c:v>
                </c:pt>
                <c:pt idx="34">
                  <c:v>35.673436983255669</c:v>
                </c:pt>
                <c:pt idx="35">
                  <c:v>37.623917836172041</c:v>
                </c:pt>
                <c:pt idx="36">
                  <c:v>39.67912156067905</c:v>
                </c:pt>
                <c:pt idx="37">
                  <c:v>41.843055868899683</c:v>
                </c:pt>
                <c:pt idx="38">
                  <c:v>44.662183901557</c:v>
                </c:pt>
                <c:pt idx="39">
                  <c:v>48.043428828794276</c:v>
                </c:pt>
                <c:pt idx="40">
                  <c:v>51.889220082142856</c:v>
                </c:pt>
                <c:pt idx="41">
                  <c:v>56.170723689545412</c:v>
                </c:pt>
                <c:pt idx="42">
                  <c:v>60.895192656840663</c:v>
                </c:pt>
                <c:pt idx="43">
                  <c:v>66.088633775012568</c:v>
                </c:pt>
                <c:pt idx="44">
                  <c:v>71.785257000126876</c:v>
                </c:pt>
                <c:pt idx="45">
                  <c:v>78.021484841563506</c:v>
                </c:pt>
                <c:pt idx="46">
                  <c:v>84.837474832078442</c:v>
                </c:pt>
                <c:pt idx="47">
                  <c:v>92.269875027908711</c:v>
                </c:pt>
                <c:pt idx="48">
                  <c:v>100.36105130583746</c:v>
                </c:pt>
                <c:pt idx="49">
                  <c:v>109.15743905864656</c:v>
                </c:pt>
                <c:pt idx="50">
                  <c:v>118.70936771508423</c:v>
                </c:pt>
                <c:pt idx="51">
                  <c:v>129.07195449923165</c:v>
                </c:pt>
                <c:pt idx="52">
                  <c:v>140.30410133276018</c:v>
                </c:pt>
                <c:pt idx="53">
                  <c:v>152.4736741707311</c:v>
                </c:pt>
                <c:pt idx="54">
                  <c:v>165.65408140045474</c:v>
                </c:pt>
                <c:pt idx="55">
                  <c:v>179.91537679368048</c:v>
                </c:pt>
                <c:pt idx="56">
                  <c:v>195.33579728691257</c:v>
                </c:pt>
                <c:pt idx="57">
                  <c:v>211.99475844303379</c:v>
                </c:pt>
                <c:pt idx="58">
                  <c:v>229.97367658093572</c:v>
                </c:pt>
                <c:pt idx="59">
                  <c:v>249.35846012466936</c:v>
                </c:pt>
                <c:pt idx="60">
                  <c:v>270.24644880890264</c:v>
                </c:pt>
                <c:pt idx="61">
                  <c:v>292.73759710456943</c:v>
                </c:pt>
                <c:pt idx="62">
                  <c:v>312.81169720133767</c:v>
                </c:pt>
                <c:pt idx="63">
                  <c:v>331.22099641652312</c:v>
                </c:pt>
                <c:pt idx="64">
                  <c:v>348.86325346151716</c:v>
                </c:pt>
                <c:pt idx="65">
                  <c:v>366.16396207193611</c:v>
                </c:pt>
                <c:pt idx="66">
                  <c:v>383.2815743345127</c:v>
                </c:pt>
                <c:pt idx="67">
                  <c:v>400.25975664149155</c:v>
                </c:pt>
                <c:pt idx="68">
                  <c:v>417.09398453889298</c:v>
                </c:pt>
                <c:pt idx="69">
                  <c:v>435.60175496846205</c:v>
                </c:pt>
                <c:pt idx="70">
                  <c:v>455.4069447600923</c:v>
                </c:pt>
                <c:pt idx="71">
                  <c:v>476.18029801693046</c:v>
                </c:pt>
                <c:pt idx="72">
                  <c:v>497.79207631223835</c:v>
                </c:pt>
                <c:pt idx="73">
                  <c:v>520.21299846892362</c:v>
                </c:pt>
                <c:pt idx="74">
                  <c:v>543.47720912680961</c:v>
                </c:pt>
                <c:pt idx="75">
                  <c:v>567.61083150302875</c:v>
                </c:pt>
                <c:pt idx="76">
                  <c:v>592.59767621802166</c:v>
                </c:pt>
                <c:pt idx="77">
                  <c:v>618.39693472726503</c:v>
                </c:pt>
                <c:pt idx="78">
                  <c:v>644.27339545178359</c:v>
                </c:pt>
                <c:pt idx="79">
                  <c:v>670.75374246408694</c:v>
                </c:pt>
                <c:pt idx="80">
                  <c:v>697.75029217245628</c:v>
                </c:pt>
                <c:pt idx="81">
                  <c:v>725.20120391411047</c:v>
                </c:pt>
                <c:pt idx="82">
                  <c:v>753.0385986420938</c:v>
                </c:pt>
                <c:pt idx="83">
                  <c:v>769.76317511886043</c:v>
                </c:pt>
                <c:pt idx="84">
                  <c:v>777.72361957161854</c:v>
                </c:pt>
                <c:pt idx="85">
                  <c:v>779.31299612458429</c:v>
                </c:pt>
                <c:pt idx="86">
                  <c:v>777.15669841306806</c:v>
                </c:pt>
                <c:pt idx="87">
                  <c:v>772.27657519186141</c:v>
                </c:pt>
                <c:pt idx="88">
                  <c:v>765.22968320390578</c:v>
                </c:pt>
                <c:pt idx="89">
                  <c:v>756.35553075470648</c:v>
                </c:pt>
                <c:pt idx="90">
                  <c:v>745.88667250608319</c:v>
                </c:pt>
                <c:pt idx="91">
                  <c:v>734.04639796003698</c:v>
                </c:pt>
                <c:pt idx="92">
                  <c:v>720.41735473050403</c:v>
                </c:pt>
                <c:pt idx="93">
                  <c:v>705.96311999239856</c:v>
                </c:pt>
                <c:pt idx="94">
                  <c:v>690.85419683509645</c:v>
                </c:pt>
                <c:pt idx="95">
                  <c:v>675.2768790699979</c:v>
                </c:pt>
                <c:pt idx="96">
                  <c:v>659.35903287551525</c:v>
                </c:pt>
                <c:pt idx="97">
                  <c:v>643.18072441186155</c:v>
                </c:pt>
                <c:pt idx="98">
                  <c:v>626.81607575005785</c:v>
                </c:pt>
                <c:pt idx="99">
                  <c:v>609.6624166927005</c:v>
                </c:pt>
                <c:pt idx="100">
                  <c:v>592.46666518827112</c:v>
                </c:pt>
                <c:pt idx="101">
                  <c:v>575.27856047163459</c:v>
                </c:pt>
                <c:pt idx="102">
                  <c:v>558.16090042199539</c:v>
                </c:pt>
                <c:pt idx="103">
                  <c:v>541.16271199573737</c:v>
                </c:pt>
                <c:pt idx="104">
                  <c:v>524.30462232893922</c:v>
                </c:pt>
                <c:pt idx="105">
                  <c:v>507.60298853759474</c:v>
                </c:pt>
                <c:pt idx="106">
                  <c:v>491.60976461165421</c:v>
                </c:pt>
                <c:pt idx="107">
                  <c:v>475.7875894907674</c:v>
                </c:pt>
                <c:pt idx="108">
                  <c:v>460.15456429633662</c:v>
                </c:pt>
                <c:pt idx="109">
                  <c:v>444.72778068894752</c:v>
                </c:pt>
                <c:pt idx="110">
                  <c:v>429.53364858275842</c:v>
                </c:pt>
                <c:pt idx="111">
                  <c:v>414.59035014779073</c:v>
                </c:pt>
                <c:pt idx="112">
                  <c:v>399.89884220675287</c:v>
                </c:pt>
                <c:pt idx="113">
                  <c:v>385.89033863582245</c:v>
                </c:pt>
                <c:pt idx="114">
                  <c:v>372.12775254731235</c:v>
                </c:pt>
                <c:pt idx="115">
                  <c:v>358.62450327774576</c:v>
                </c:pt>
                <c:pt idx="116">
                  <c:v>345.40292186033008</c:v>
                </c:pt>
                <c:pt idx="117">
                  <c:v>332.48252798960448</c:v>
                </c:pt>
                <c:pt idx="118">
                  <c:v>319.86610639958536</c:v>
                </c:pt>
                <c:pt idx="119">
                  <c:v>307.55748617243688</c:v>
                </c:pt>
                <c:pt idx="120">
                  <c:v>295.89176107246726</c:v>
                </c:pt>
                <c:pt idx="121">
                  <c:v>284.25136502272278</c:v>
                </c:pt>
                <c:pt idx="122">
                  <c:v>278.55231350631232</c:v>
                </c:pt>
                <c:pt idx="123">
                  <c:v>273.00211728719842</c:v>
                </c:pt>
                <c:pt idx="124">
                  <c:v>267.60176136315363</c:v>
                </c:pt>
                <c:pt idx="125">
                  <c:v>269.07268186505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A7-4D9A-8C9E-78CAA4FB84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C$2:$C$247</c:f>
              <c:numCache>
                <c:formatCode>General</c:formatCode>
                <c:ptCount val="246"/>
                <c:pt idx="122">
                  <c:v>272.21063525413109</c:v>
                </c:pt>
                <c:pt idx="123">
                  <c:v>261.77007174668154</c:v>
                </c:pt>
                <c:pt idx="124">
                  <c:v>251.60505344929797</c:v>
                </c:pt>
                <c:pt idx="125">
                  <c:v>241.71750517788709</c:v>
                </c:pt>
                <c:pt idx="126">
                  <c:v>232.10835870298015</c:v>
                </c:pt>
                <c:pt idx="127">
                  <c:v>222.77776989901946</c:v>
                </c:pt>
                <c:pt idx="128">
                  <c:v>213.72522123010776</c:v>
                </c:pt>
                <c:pt idx="129">
                  <c:v>204.94956793568977</c:v>
                </c:pt>
                <c:pt idx="130">
                  <c:v>196.44901284760022</c:v>
                </c:pt>
                <c:pt idx="131">
                  <c:v>188.22117456546513</c:v>
                </c:pt>
                <c:pt idx="132">
                  <c:v>182.33295237098514</c:v>
                </c:pt>
                <c:pt idx="133">
                  <c:v>178.18839628655761</c:v>
                </c:pt>
                <c:pt idx="134">
                  <c:v>175.11119908144926</c:v>
                </c:pt>
                <c:pt idx="135">
                  <c:v>172.7185248890344</c:v>
                </c:pt>
                <c:pt idx="136">
                  <c:v>170.7998816521349</c:v>
                </c:pt>
                <c:pt idx="137">
                  <c:v>169.24240987895774</c:v>
                </c:pt>
                <c:pt idx="138">
                  <c:v>167.97554906191999</c:v>
                </c:pt>
                <c:pt idx="139">
                  <c:v>166.94361471045804</c:v>
                </c:pt>
                <c:pt idx="140">
                  <c:v>166.09342046824676</c:v>
                </c:pt>
                <c:pt idx="141">
                  <c:v>165.35601420317562</c:v>
                </c:pt>
                <c:pt idx="142">
                  <c:v>164.68952873677944</c:v>
                </c:pt>
                <c:pt idx="143">
                  <c:v>164.05947180504629</c:v>
                </c:pt>
                <c:pt idx="144">
                  <c:v>163.43585351122121</c:v>
                </c:pt>
                <c:pt idx="145">
                  <c:v>162.80007709685384</c:v>
                </c:pt>
                <c:pt idx="146">
                  <c:v>162.13737960521686</c:v>
                </c:pt>
                <c:pt idx="147">
                  <c:v>161.43622763622642</c:v>
                </c:pt>
                <c:pt idx="148">
                  <c:v>160.69350003025514</c:v>
                </c:pt>
                <c:pt idx="149">
                  <c:v>159.89841097075279</c:v>
                </c:pt>
                <c:pt idx="150">
                  <c:v>159.04639390824894</c:v>
                </c:pt>
                <c:pt idx="151">
                  <c:v>158.13450673479349</c:v>
                </c:pt>
                <c:pt idx="152">
                  <c:v>157.16212288452286</c:v>
                </c:pt>
                <c:pt idx="153">
                  <c:v>156.12991523468816</c:v>
                </c:pt>
                <c:pt idx="154">
                  <c:v>155.03916114636903</c:v>
                </c:pt>
                <c:pt idx="155">
                  <c:v>153.8923478949491</c:v>
                </c:pt>
                <c:pt idx="156">
                  <c:v>152.68935869960507</c:v>
                </c:pt>
                <c:pt idx="157">
                  <c:v>151.43108622523161</c:v>
                </c:pt>
                <c:pt idx="158">
                  <c:v>150.12186576286189</c:v>
                </c:pt>
                <c:pt idx="159">
                  <c:v>148.76348641021477</c:v>
                </c:pt>
                <c:pt idx="160">
                  <c:v>147.35607662958927</c:v>
                </c:pt>
                <c:pt idx="161">
                  <c:v>145.90892855738869</c:v>
                </c:pt>
                <c:pt idx="162">
                  <c:v>144.42892739939617</c:v>
                </c:pt>
                <c:pt idx="163">
                  <c:v>142.91888788483266</c:v>
                </c:pt>
                <c:pt idx="164">
                  <c:v>141.3816961697533</c:v>
                </c:pt>
                <c:pt idx="165">
                  <c:v>139.82025095307614</c:v>
                </c:pt>
                <c:pt idx="166">
                  <c:v>138.23743380157228</c:v>
                </c:pt>
                <c:pt idx="167">
                  <c:v>136.63607094730318</c:v>
                </c:pt>
                <c:pt idx="168">
                  <c:v>135.01886518101693</c:v>
                </c:pt>
                <c:pt idx="169">
                  <c:v>133.38833895401956</c:v>
                </c:pt>
                <c:pt idx="170">
                  <c:v>131.74674174056526</c:v>
                </c:pt>
                <c:pt idx="171">
                  <c:v>130.09612007512544</c:v>
                </c:pt>
                <c:pt idx="172">
                  <c:v>128.43833486650485</c:v>
                </c:pt>
                <c:pt idx="173">
                  <c:v>126.77507489776679</c:v>
                </c:pt>
                <c:pt idx="174">
                  <c:v>125.10788993753978</c:v>
                </c:pt>
                <c:pt idx="175">
                  <c:v>123.43820121480172</c:v>
                </c:pt>
                <c:pt idx="176">
                  <c:v>121.76731941556694</c:v>
                </c:pt>
                <c:pt idx="177">
                  <c:v>120.09647328200212</c:v>
                </c:pt>
                <c:pt idx="178">
                  <c:v>118.42678871265983</c:v>
                </c:pt>
                <c:pt idx="179">
                  <c:v>116.75931325231467</c:v>
                </c:pt>
                <c:pt idx="180">
                  <c:v>115.09502440630129</c:v>
                </c:pt>
                <c:pt idx="181">
                  <c:v>113.4348401188133</c:v>
                </c:pt>
                <c:pt idx="182">
                  <c:v>111.77962464729019</c:v>
                </c:pt>
                <c:pt idx="183">
                  <c:v>110.13019396982548</c:v>
                </c:pt>
                <c:pt idx="184">
                  <c:v>108.48732513789899</c:v>
                </c:pt>
                <c:pt idx="185">
                  <c:v>106.851748037633</c:v>
                </c:pt>
                <c:pt idx="186">
                  <c:v>105.22415102041673</c:v>
                </c:pt>
                <c:pt idx="187">
                  <c:v>103.6051939210959</c:v>
                </c:pt>
                <c:pt idx="188">
                  <c:v>101.99550099317587</c:v>
                </c:pt>
                <c:pt idx="189">
                  <c:v>100.39565904610089</c:v>
                </c:pt>
                <c:pt idx="190">
                  <c:v>98.806227204929087</c:v>
                </c:pt>
                <c:pt idx="191">
                  <c:v>97.227739135311424</c:v>
                </c:pt>
                <c:pt idx="192">
                  <c:v>95.660694229947154</c:v>
                </c:pt>
                <c:pt idx="193">
                  <c:v>94.105561833076848</c:v>
                </c:pt>
                <c:pt idx="194">
                  <c:v>92.56278376135181</c:v>
                </c:pt>
                <c:pt idx="195">
                  <c:v>91.032775957449317</c:v>
                </c:pt>
                <c:pt idx="196">
                  <c:v>89.515929691776378</c:v>
                </c:pt>
                <c:pt idx="197">
                  <c:v>88.01261252010076</c:v>
                </c:pt>
                <c:pt idx="198">
                  <c:v>86.523169101597489</c:v>
                </c:pt>
                <c:pt idx="199">
                  <c:v>85.047921930524041</c:v>
                </c:pt>
                <c:pt idx="200">
                  <c:v>83.587172011038263</c:v>
                </c:pt>
                <c:pt idx="201">
                  <c:v>82.141199490226313</c:v>
                </c:pt>
                <c:pt idx="202">
                  <c:v>80.710264259910659</c:v>
                </c:pt>
                <c:pt idx="203">
                  <c:v>79.294606534035395</c:v>
                </c:pt>
                <c:pt idx="204">
                  <c:v>77.894447406048172</c:v>
                </c:pt>
                <c:pt idx="205">
                  <c:v>76.509989390206968</c:v>
                </c:pt>
                <c:pt idx="206">
                  <c:v>75.141416950429999</c:v>
                </c:pt>
                <c:pt idx="207">
                  <c:v>73.788897017799997</c:v>
                </c:pt>
                <c:pt idx="208">
                  <c:v>72.452579500263539</c:v>
                </c:pt>
                <c:pt idx="209">
                  <c:v>71.132597784732212</c:v>
                </c:pt>
                <c:pt idx="210">
                  <c:v>69.829069233472211</c:v>
                </c:pt>
                <c:pt idx="211">
                  <c:v>68.542095675893577</c:v>
                </c:pt>
                <c:pt idx="212">
                  <c:v>67.271763895429189</c:v>
                </c:pt>
                <c:pt idx="213">
                  <c:v>66.018146113079723</c:v>
                </c:pt>
                <c:pt idx="214">
                  <c:v>64.781300467237116</c:v>
                </c:pt>
                <c:pt idx="215">
                  <c:v>63.561271489708901</c:v>
                </c:pt>
                <c:pt idx="216">
                  <c:v>62.358090578512041</c:v>
                </c:pt>
                <c:pt idx="217">
                  <c:v>61.171776466919326</c:v>
                </c:pt>
                <c:pt idx="218">
                  <c:v>60.002335688525797</c:v>
                </c:pt>
                <c:pt idx="219">
                  <c:v>58.849763038180058</c:v>
                </c:pt>
                <c:pt idx="220">
                  <c:v>57.714042028470416</c:v>
                </c:pt>
                <c:pt idx="221">
                  <c:v>56.595145341429848</c:v>
                </c:pt>
                <c:pt idx="222">
                  <c:v>55.493035274761951</c:v>
                </c:pt>
                <c:pt idx="223">
                  <c:v>54.407664182923952</c:v>
                </c:pt>
                <c:pt idx="224">
                  <c:v>53.338974911852027</c:v>
                </c:pt>
                <c:pt idx="225">
                  <c:v>52.286901227354761</c:v>
                </c:pt>
                <c:pt idx="226">
                  <c:v>51.251368237174802</c:v>
                </c:pt>
                <c:pt idx="227">
                  <c:v>50.232292805426511</c:v>
                </c:pt>
                <c:pt idx="228">
                  <c:v>49.22958396002975</c:v>
                </c:pt>
                <c:pt idx="229">
                  <c:v>48.243143292132054</c:v>
                </c:pt>
                <c:pt idx="230">
                  <c:v>47.272865347699948</c:v>
                </c:pt>
                <c:pt idx="231">
                  <c:v>46.318638010762619</c:v>
                </c:pt>
                <c:pt idx="232">
                  <c:v>45.380342877997776</c:v>
                </c:pt>
                <c:pt idx="233">
                  <c:v>44.457855624737206</c:v>
                </c:pt>
                <c:pt idx="234">
                  <c:v>43.551046361901086</c:v>
                </c:pt>
                <c:pt idx="235">
                  <c:v>42.65977998399012</c:v>
                </c:pt>
                <c:pt idx="236">
                  <c:v>41.783916507489501</c:v>
                </c:pt>
                <c:pt idx="237">
                  <c:v>40.923311400485915</c:v>
                </c:pt>
                <c:pt idx="238">
                  <c:v>40.077815902308551</c:v>
                </c:pt>
                <c:pt idx="239">
                  <c:v>39.247277333969706</c:v>
                </c:pt>
                <c:pt idx="240">
                  <c:v>38.431539399120481</c:v>
                </c:pt>
                <c:pt idx="241">
                  <c:v>37.630442475159875</c:v>
                </c:pt>
                <c:pt idx="242">
                  <c:v>36.843823895246715</c:v>
                </c:pt>
                <c:pt idx="243">
                  <c:v>36.071518220516609</c:v>
                </c:pt>
                <c:pt idx="244">
                  <c:v>35.313357502684923</c:v>
                </c:pt>
                <c:pt idx="245">
                  <c:v>34.569171537965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A7-4D9A-8C9E-78CAA4FB84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D$2:$D$247</c:f>
              <c:numCache>
                <c:formatCode>General</c:formatCode>
                <c:ptCount val="246"/>
                <c:pt idx="122">
                  <c:v>272.21063525413109</c:v>
                </c:pt>
                <c:pt idx="123">
                  <c:v>261.77007174668154</c:v>
                </c:pt>
                <c:pt idx="124">
                  <c:v>251.60505344929797</c:v>
                </c:pt>
                <c:pt idx="125">
                  <c:v>248.76785475421622</c:v>
                </c:pt>
                <c:pt idx="126">
                  <c:v>251.24457082885755</c:v>
                </c:pt>
                <c:pt idx="127">
                  <c:v>256.94208759071392</c:v>
                </c:pt>
                <c:pt idx="128">
                  <c:v>264.80094627424279</c:v>
                </c:pt>
                <c:pt idx="129">
                  <c:v>274.30485012566339</c:v>
                </c:pt>
                <c:pt idx="130">
                  <c:v>285.21947838754573</c:v>
                </c:pt>
                <c:pt idx="131">
                  <c:v>297.41212861031613</c:v>
                </c:pt>
                <c:pt idx="132">
                  <c:v>310.77507650298617</c:v>
                </c:pt>
                <c:pt idx="133">
                  <c:v>325.19115840576444</c:v>
                </c:pt>
                <c:pt idx="134">
                  <c:v>340.4772425428032</c:v>
                </c:pt>
                <c:pt idx="135">
                  <c:v>356.52761150787694</c:v>
                </c:pt>
                <c:pt idx="136">
                  <c:v>373.24680194404505</c:v>
                </c:pt>
                <c:pt idx="137">
                  <c:v>390.54176202703815</c:v>
                </c:pt>
                <c:pt idx="138">
                  <c:v>408.34698704190822</c:v>
                </c:pt>
                <c:pt idx="139">
                  <c:v>426.59998312656103</c:v>
                </c:pt>
                <c:pt idx="140">
                  <c:v>445.23918991706694</c:v>
                </c:pt>
                <c:pt idx="141">
                  <c:v>464.22327332495792</c:v>
                </c:pt>
                <c:pt idx="142">
                  <c:v>483.4775259044423</c:v>
                </c:pt>
                <c:pt idx="143">
                  <c:v>502.94121639135352</c:v>
                </c:pt>
                <c:pt idx="144">
                  <c:v>522.55217911342584</c:v>
                </c:pt>
                <c:pt idx="145">
                  <c:v>542.2496663026443</c:v>
                </c:pt>
                <c:pt idx="146">
                  <c:v>561.97164550287607</c:v>
                </c:pt>
                <c:pt idx="147">
                  <c:v>581.65269225474856</c:v>
                </c:pt>
                <c:pt idx="148">
                  <c:v>601.22624426320954</c:v>
                </c:pt>
                <c:pt idx="149">
                  <c:v>620.61322911345223</c:v>
                </c:pt>
                <c:pt idx="150">
                  <c:v>639.73434368364451</c:v>
                </c:pt>
                <c:pt idx="151">
                  <c:v>658.51862843891774</c:v>
                </c:pt>
                <c:pt idx="152">
                  <c:v>676.88414579322966</c:v>
                </c:pt>
                <c:pt idx="153">
                  <c:v>694.74149552442952</c:v>
                </c:pt>
                <c:pt idx="154">
                  <c:v>712.01124222452995</c:v>
                </c:pt>
                <c:pt idx="155">
                  <c:v>728.61015277480806</c:v>
                </c:pt>
                <c:pt idx="156">
                  <c:v>744.44835451596794</c:v>
                </c:pt>
                <c:pt idx="157">
                  <c:v>759.44089124494656</c:v>
                </c:pt>
                <c:pt idx="158">
                  <c:v>773.50670027997</c:v>
                </c:pt>
                <c:pt idx="159">
                  <c:v>786.56865091153054</c:v>
                </c:pt>
                <c:pt idx="160">
                  <c:v>798.55403646967613</c:v>
                </c:pt>
                <c:pt idx="161">
                  <c:v>809.43557216000863</c:v>
                </c:pt>
                <c:pt idx="162">
                  <c:v>819.18222315302035</c:v>
                </c:pt>
                <c:pt idx="163">
                  <c:v>827.75858868415776</c:v>
                </c:pt>
                <c:pt idx="164">
                  <c:v>835.13060483327138</c:v>
                </c:pt>
                <c:pt idx="165">
                  <c:v>841.26864455622047</c:v>
                </c:pt>
                <c:pt idx="166">
                  <c:v>846.14912822758833</c:v>
                </c:pt>
                <c:pt idx="167">
                  <c:v>849.75519034147987</c:v>
                </c:pt>
                <c:pt idx="168">
                  <c:v>852.07677303057358</c:v>
                </c:pt>
                <c:pt idx="169">
                  <c:v>853.11051674023861</c:v>
                </c:pt>
                <c:pt idx="170">
                  <c:v>852.85925476283626</c:v>
                </c:pt>
                <c:pt idx="171">
                  <c:v>851.33238919595465</c:v>
                </c:pt>
                <c:pt idx="172">
                  <c:v>848.54583245090703</c:v>
                </c:pt>
                <c:pt idx="173">
                  <c:v>844.52184284362966</c:v>
                </c:pt>
                <c:pt idx="174">
                  <c:v>839.28892650846888</c:v>
                </c:pt>
                <c:pt idx="175">
                  <c:v>832.8815313896805</c:v>
                </c:pt>
                <c:pt idx="176">
                  <c:v>825.33971067808079</c:v>
                </c:pt>
                <c:pt idx="177">
                  <c:v>816.70882091841645</c:v>
                </c:pt>
                <c:pt idx="178">
                  <c:v>807.03885593298878</c:v>
                </c:pt>
                <c:pt idx="179">
                  <c:v>796.38403091996588</c:v>
                </c:pt>
                <c:pt idx="180">
                  <c:v>784.80224060026262</c:v>
                </c:pt>
                <c:pt idx="181">
                  <c:v>772.35451420457923</c:v>
                </c:pt>
                <c:pt idx="182">
                  <c:v>759.10443673579937</c:v>
                </c:pt>
                <c:pt idx="183">
                  <c:v>745.11756361359198</c:v>
                </c:pt>
                <c:pt idx="184">
                  <c:v>730.46086443821832</c:v>
                </c:pt>
                <c:pt idx="185">
                  <c:v>715.20208400050763</c:v>
                </c:pt>
                <c:pt idx="186">
                  <c:v>699.4092078440849</c:v>
                </c:pt>
                <c:pt idx="187">
                  <c:v>683.15000594262767</c:v>
                </c:pt>
                <c:pt idx="188">
                  <c:v>666.49148600253488</c:v>
                </c:pt>
                <c:pt idx="189">
                  <c:v>649.49941208492885</c:v>
                </c:pt>
                <c:pt idx="190">
                  <c:v>632.23794898737458</c:v>
                </c:pt>
                <c:pt idx="191">
                  <c:v>614.76928991275122</c:v>
                </c:pt>
                <c:pt idx="192">
                  <c:v>597.15327538642134</c:v>
                </c:pt>
                <c:pt idx="193">
                  <c:v>579.4471344752701</c:v>
                </c:pt>
                <c:pt idx="194">
                  <c:v>561.70526166877039</c:v>
                </c:pt>
                <c:pt idx="195">
                  <c:v>543.97903396253741</c:v>
                </c:pt>
                <c:pt idx="196">
                  <c:v>526.31666910443448</c:v>
                </c:pt>
                <c:pt idx="197">
                  <c:v>508.76312405456639</c:v>
                </c:pt>
                <c:pt idx="198">
                  <c:v>491.36003164080591</c:v>
                </c:pt>
                <c:pt idx="199">
                  <c:v>474.14567277028095</c:v>
                </c:pt>
                <c:pt idx="200">
                  <c:v>457.15498118545759</c:v>
                </c:pt>
                <c:pt idx="201">
                  <c:v>440.41957754429347</c:v>
                </c:pt>
                <c:pt idx="202">
                  <c:v>423.96782950839457</c:v>
                </c:pt>
                <c:pt idx="203">
                  <c:v>407.82493450764838</c:v>
                </c:pt>
                <c:pt idx="204">
                  <c:v>392.01302190558278</c:v>
                </c:pt>
                <c:pt idx="205">
                  <c:v>376.55127139343637</c:v>
                </c:pt>
                <c:pt idx="206">
                  <c:v>361.45604459177832</c:v>
                </c:pt>
                <c:pt idx="207">
                  <c:v>346.74102701691947</c:v>
                </c:pt>
                <c:pt idx="208">
                  <c:v>332.41737777373186</c:v>
                </c:pt>
                <c:pt idx="209">
                  <c:v>318.4938845584436</c:v>
                </c:pt>
                <c:pt idx="210">
                  <c:v>304.97712178204364</c:v>
                </c:pt>
                <c:pt idx="211">
                  <c:v>291.87160986006114</c:v>
                </c:pt>
                <c:pt idx="212">
                  <c:v>279.17997394462691</c:v>
                </c:pt>
                <c:pt idx="213">
                  <c:v>266.90310060106816</c:v>
                </c:pt>
                <c:pt idx="214">
                  <c:v>255.04029114943808</c:v>
                </c:pt>
                <c:pt idx="215">
                  <c:v>243.58941059389753</c:v>
                </c:pt>
                <c:pt idx="216">
                  <c:v>232.54703125879092</c:v>
                </c:pt>
                <c:pt idx="217">
                  <c:v>221.90857042437042</c:v>
                </c:pt>
                <c:pt idx="218">
                  <c:v>211.66842141918158</c:v>
                </c:pt>
                <c:pt idx="219">
                  <c:v>201.82007777123962</c:v>
                </c:pt>
                <c:pt idx="220">
                  <c:v>192.35625015099924</c:v>
                </c:pt>
                <c:pt idx="221">
                  <c:v>183.26897595410253</c:v>
                </c:pt>
                <c:pt idx="222">
                  <c:v>174.54972147201022</c:v>
                </c:pt>
                <c:pt idx="223">
                  <c:v>166.18947668522429</c:v>
                </c:pt>
                <c:pt idx="224">
                  <c:v>158.17884278622708</c:v>
                </c:pt>
                <c:pt idx="225">
                  <c:v>150.50811260092442</c:v>
                </c:pt>
                <c:pt idx="226">
                  <c:v>143.16734412656348</c:v>
                </c:pt>
                <c:pt idx="227">
                  <c:v>136.14642744423119</c:v>
                </c:pt>
                <c:pt idx="228">
                  <c:v>129.43514529430257</c:v>
                </c:pt>
                <c:pt idx="229">
                  <c:v>123.0232276261069</c:v>
                </c:pt>
                <c:pt idx="230">
                  <c:v>116.90040044889572</c:v>
                </c:pt>
                <c:pt idx="231">
                  <c:v>111.05642931964805</c:v>
                </c:pt>
                <c:pt idx="232">
                  <c:v>105.48115780875271</c:v>
                </c:pt>
                <c:pt idx="233">
                  <c:v>100.16454128393622</c:v>
                </c:pt>
                <c:pt idx="234">
                  <c:v>95.096676347170003</c:v>
                </c:pt>
                <c:pt idx="235">
                  <c:v>90.267826255466304</c:v>
                </c:pt>
                <c:pt idx="236">
                  <c:v>85.6684426432913</c:v>
                </c:pt>
                <c:pt idx="237">
                  <c:v>81.28918385561461</c:v>
                </c:pt>
                <c:pt idx="238">
                  <c:v>77.120930185443697</c:v>
                </c:pt>
                <c:pt idx="239">
                  <c:v>73.154796296873116</c:v>
                </c:pt>
                <c:pt idx="240">
                  <c:v>69.382141099481828</c:v>
                </c:pt>
                <c:pt idx="241">
                  <c:v>65.794575323889021</c:v>
                </c:pt>
                <c:pt idx="242">
                  <c:v>62.383967033288428</c:v>
                </c:pt>
                <c:pt idx="243">
                  <c:v>59.142445290818095</c:v>
                </c:pt>
                <c:pt idx="244">
                  <c:v>56.062402185513157</c:v>
                </c:pt>
                <c:pt idx="245">
                  <c:v>53.136493406977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A7-4D9A-8C9E-78CAA4FB84E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F$2:$F$247</c:f>
              <c:numCache>
                <c:formatCode>General</c:formatCode>
                <c:ptCount val="246"/>
                <c:pt idx="126">
                  <c:v>245.92426597198343</c:v>
                </c:pt>
                <c:pt idx="127">
                  <c:v>248.77302435292455</c:v>
                </c:pt>
                <c:pt idx="128">
                  <c:v>252.70245369463726</c:v>
                </c:pt>
                <c:pt idx="129">
                  <c:v>257.45440562039926</c:v>
                </c:pt>
                <c:pt idx="130">
                  <c:v>262.91171975131465</c:v>
                </c:pt>
                <c:pt idx="131">
                  <c:v>269.00804486269988</c:v>
                </c:pt>
                <c:pt idx="132">
                  <c:v>275.68951880903489</c:v>
                </c:pt>
                <c:pt idx="133">
                  <c:v>282.89755976042397</c:v>
                </c:pt>
                <c:pt idx="134">
                  <c:v>290.54060182894341</c:v>
                </c:pt>
                <c:pt idx="135">
                  <c:v>298.56578631146726</c:v>
                </c:pt>
                <c:pt idx="136">
                  <c:v>306.92538152955137</c:v>
                </c:pt>
                <c:pt idx="137">
                  <c:v>315.57286157108672</c:v>
                </c:pt>
                <c:pt idx="138">
                  <c:v>324.47547407849584</c:v>
                </c:pt>
                <c:pt idx="139">
                  <c:v>333.60197212082232</c:v>
                </c:pt>
                <c:pt idx="140">
                  <c:v>342.92157551604942</c:v>
                </c:pt>
                <c:pt idx="141">
                  <c:v>352.41361722002068</c:v>
                </c:pt>
                <c:pt idx="142">
                  <c:v>362.04074350977589</c:v>
                </c:pt>
                <c:pt idx="143">
                  <c:v>371.7725887532315</c:v>
                </c:pt>
                <c:pt idx="144">
                  <c:v>381.57807011424177</c:v>
                </c:pt>
                <c:pt idx="145">
                  <c:v>391.42681370887681</c:v>
                </c:pt>
                <c:pt idx="146">
                  <c:v>401.28780330896689</c:v>
                </c:pt>
                <c:pt idx="147">
                  <c:v>411.12832668491603</c:v>
                </c:pt>
                <c:pt idx="148">
                  <c:v>420.91510268915948</c:v>
                </c:pt>
                <c:pt idx="149">
                  <c:v>430.60859511425497</c:v>
                </c:pt>
                <c:pt idx="150">
                  <c:v>440.16915239936407</c:v>
                </c:pt>
                <c:pt idx="151">
                  <c:v>449.56129477700063</c:v>
                </c:pt>
                <c:pt idx="152">
                  <c:v>458.74405345415664</c:v>
                </c:pt>
                <c:pt idx="153">
                  <c:v>467.67272831975646</c:v>
                </c:pt>
                <c:pt idx="154">
                  <c:v>476.30760166981963</c:v>
                </c:pt>
                <c:pt idx="155">
                  <c:v>484.60705694493288</c:v>
                </c:pt>
                <c:pt idx="156">
                  <c:v>492.52615781553868</c:v>
                </c:pt>
                <c:pt idx="157">
                  <c:v>500.02242618000218</c:v>
                </c:pt>
                <c:pt idx="158">
                  <c:v>507.05533069752676</c:v>
                </c:pt>
                <c:pt idx="159">
                  <c:v>513.58630601331993</c:v>
                </c:pt>
                <c:pt idx="160">
                  <c:v>519.57899879236697</c:v>
                </c:pt>
                <c:pt idx="161">
                  <c:v>525.01976663754613</c:v>
                </c:pt>
                <c:pt idx="162">
                  <c:v>529.89309213406489</c:v>
                </c:pt>
                <c:pt idx="163">
                  <c:v>534.18127489962069</c:v>
                </c:pt>
                <c:pt idx="164">
                  <c:v>537.8672829741904</c:v>
                </c:pt>
                <c:pt idx="165">
                  <c:v>540.93630283565199</c:v>
                </c:pt>
                <c:pt idx="166">
                  <c:v>543.37654467132302</c:v>
                </c:pt>
                <c:pt idx="167">
                  <c:v>545.17957572828175</c:v>
                </c:pt>
                <c:pt idx="168">
                  <c:v>546.34036707281564</c:v>
                </c:pt>
                <c:pt idx="169">
                  <c:v>546.857238927661</c:v>
                </c:pt>
                <c:pt idx="170">
                  <c:v>546.73160793897296</c:v>
                </c:pt>
                <c:pt idx="171">
                  <c:v>545.96817515551913</c:v>
                </c:pt>
                <c:pt idx="172">
                  <c:v>544.57489678299532</c:v>
                </c:pt>
                <c:pt idx="173">
                  <c:v>542.56290197935664</c:v>
                </c:pt>
                <c:pt idx="174">
                  <c:v>539.94644381177625</c:v>
                </c:pt>
                <c:pt idx="175">
                  <c:v>536.74274625235626</c:v>
                </c:pt>
                <c:pt idx="176">
                  <c:v>532.97183589660813</c:v>
                </c:pt>
                <c:pt idx="177">
                  <c:v>528.65639101672423</c:v>
                </c:pt>
                <c:pt idx="178">
                  <c:v>523.82140852404905</c:v>
                </c:pt>
                <c:pt idx="179">
                  <c:v>518.49399601753771</c:v>
                </c:pt>
                <c:pt idx="180">
                  <c:v>512.70310085767312</c:v>
                </c:pt>
                <c:pt idx="181">
                  <c:v>506.47923765983137</c:v>
                </c:pt>
                <c:pt idx="182">
                  <c:v>499.85419892544149</c:v>
                </c:pt>
                <c:pt idx="183">
                  <c:v>492.86076236433775</c:v>
                </c:pt>
                <c:pt idx="184">
                  <c:v>485.53241277665097</c:v>
                </c:pt>
                <c:pt idx="185">
                  <c:v>474.9873003983954</c:v>
                </c:pt>
                <c:pt idx="186">
                  <c:v>464.10496296650149</c:v>
                </c:pt>
                <c:pt idx="187">
                  <c:v>452.93123443820019</c:v>
                </c:pt>
                <c:pt idx="188">
                  <c:v>441.51129117820011</c:v>
                </c:pt>
                <c:pt idx="189">
                  <c:v>429.88933549189881</c:v>
                </c:pt>
                <c:pt idx="190">
                  <c:v>418.10836395056486</c:v>
                </c:pt>
                <c:pt idx="191">
                  <c:v>406.20992587524682</c:v>
                </c:pt>
                <c:pt idx="192">
                  <c:v>394.23387730114337</c:v>
                </c:pt>
                <c:pt idx="193">
                  <c:v>382.21821690230485</c:v>
                </c:pt>
                <c:pt idx="194">
                  <c:v>370.19894629446338</c:v>
                </c:pt>
                <c:pt idx="195">
                  <c:v>358.2099575648453</c:v>
                </c:pt>
                <c:pt idx="196">
                  <c:v>346.28294850230617</c:v>
                </c:pt>
                <c:pt idx="197">
                  <c:v>334.4473647419062</c:v>
                </c:pt>
                <c:pt idx="198">
                  <c:v>322.73036733973123</c:v>
                </c:pt>
                <c:pt idx="199">
                  <c:v>311.15682389533833</c:v>
                </c:pt>
                <c:pt idx="200">
                  <c:v>299.74932110670363</c:v>
                </c:pt>
                <c:pt idx="201">
                  <c:v>288.52819652049942</c:v>
                </c:pt>
                <c:pt idx="202">
                  <c:v>277.51158719050966</c:v>
                </c:pt>
                <c:pt idx="203">
                  <c:v>266.71549296334973</c:v>
                </c:pt>
                <c:pt idx="204">
                  <c:v>256.15385216210495</c:v>
                </c:pt>
                <c:pt idx="205">
                  <c:v>245.83862751946077</c:v>
                </c:pt>
                <c:pt idx="206">
                  <c:v>235.77990032657178</c:v>
                </c:pt>
                <c:pt idx="207">
                  <c:v>225.98597089238964</c:v>
                </c:pt>
                <c:pt idx="208">
                  <c:v>216.46346355467267</c:v>
                </c:pt>
                <c:pt idx="209">
                  <c:v>207.2174346400179</c:v>
                </c:pt>
                <c:pt idx="210">
                  <c:v>198.2514819289168</c:v>
                </c:pt>
                <c:pt idx="211">
                  <c:v>189.56785434380635</c:v>
                </c:pt>
                <c:pt idx="212">
                  <c:v>181.16756073763207</c:v>
                </c:pt>
                <c:pt idx="213">
                  <c:v>173.05047681297495</c:v>
                </c:pt>
                <c:pt idx="214">
                  <c:v>165.21544935152406</c:v>
                </c:pt>
                <c:pt idx="215">
                  <c:v>157.66039706990932</c:v>
                </c:pt>
                <c:pt idx="216">
                  <c:v>150.38240754934466</c:v>
                </c:pt>
                <c:pt idx="217">
                  <c:v>143.37782980297965</c:v>
                </c:pt>
                <c:pt idx="218">
                  <c:v>136.6423621542198</c:v>
                </c:pt>
                <c:pt idx="219">
                  <c:v>130.17113519530071</c:v>
                </c:pt>
                <c:pt idx="220">
                  <c:v>123.95878968143167</c:v>
                </c:pt>
                <c:pt idx="221">
                  <c:v>117.99954929030999</c:v>
                </c:pt>
                <c:pt idx="222">
                  <c:v>112.28728824416464</c:v>
                </c:pt>
                <c:pt idx="223">
                  <c:v>106.81559384387037</c:v>
                </c:pt>
                <c:pt idx="224">
                  <c:v>101.57782401511545</c:v>
                </c:pt>
                <c:pt idx="225">
                  <c:v>96.567160001462653</c:v>
                </c:pt>
                <c:pt idx="226">
                  <c:v>91.776654374016047</c:v>
                </c:pt>
                <c:pt idx="227">
                  <c:v>87.199274548492582</c:v>
                </c:pt>
                <c:pt idx="228">
                  <c:v>82.827942021374696</c:v>
                </c:pt>
                <c:pt idx="229">
                  <c:v>78.655567548898361</c:v>
                </c:pt>
                <c:pt idx="230">
                  <c:v>74.675082500904708</c:v>
                </c:pt>
                <c:pt idx="231">
                  <c:v>70.879466627504328</c:v>
                </c:pt>
                <c:pt idx="232">
                  <c:v>67.261772476037066</c:v>
                </c:pt>
                <c:pt idx="233">
                  <c:v>63.815146694710172</c:v>
                </c:pt>
                <c:pt idx="234">
                  <c:v>60.532848456548621</c:v>
                </c:pt>
                <c:pt idx="235">
                  <c:v>57.408265227813992</c:v>
                </c:pt>
                <c:pt idx="236">
                  <c:v>54.434926102399011</c:v>
                </c:pt>
                <c:pt idx="237">
                  <c:v>51.606512909712315</c:v>
                </c:pt>
                <c:pt idx="238">
                  <c:v>48.916869297903624</c:v>
                </c:pt>
                <c:pt idx="239">
                  <c:v>46.360007981771389</c:v>
                </c:pt>
                <c:pt idx="240">
                  <c:v>43.93011633502482</c:v>
                </c:pt>
                <c:pt idx="241">
                  <c:v>41.621560494942244</c:v>
                </c:pt>
                <c:pt idx="242">
                  <c:v>39.428888136901449</c:v>
                </c:pt>
                <c:pt idx="243">
                  <c:v>37.346830065734274</c:v>
                </c:pt>
                <c:pt idx="244">
                  <c:v>35.3703007592039</c:v>
                </c:pt>
                <c:pt idx="245">
                  <c:v>33.494397989583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4304933551649121"/>
          <c:y val="0.40078122534564314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G$2:$G$247</c:f>
              <c:numCache>
                <c:formatCode>General</c:formatCode>
                <c:ptCount val="246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7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7</c:v>
                </c:pt>
                <c:pt idx="45">
                  <c:v>515</c:v>
                </c:pt>
                <c:pt idx="46">
                  <c:v>543</c:v>
                </c:pt>
                <c:pt idx="47">
                  <c:v>665</c:v>
                </c:pt>
                <c:pt idx="48">
                  <c:v>733</c:v>
                </c:pt>
                <c:pt idx="49">
                  <c:v>795</c:v>
                </c:pt>
                <c:pt idx="50">
                  <c:v>851</c:v>
                </c:pt>
                <c:pt idx="51">
                  <c:v>922</c:v>
                </c:pt>
                <c:pt idx="52">
                  <c:v>929</c:v>
                </c:pt>
                <c:pt idx="53">
                  <c:v>993</c:v>
                </c:pt>
                <c:pt idx="54">
                  <c:v>1175</c:v>
                </c:pt>
                <c:pt idx="55">
                  <c:v>1296</c:v>
                </c:pt>
                <c:pt idx="56">
                  <c:v>1400</c:v>
                </c:pt>
                <c:pt idx="57">
                  <c:v>1395</c:v>
                </c:pt>
                <c:pt idx="58">
                  <c:v>1581</c:v>
                </c:pt>
                <c:pt idx="59">
                  <c:v>1599</c:v>
                </c:pt>
                <c:pt idx="60">
                  <c:v>1731</c:v>
                </c:pt>
                <c:pt idx="61">
                  <c:v>2107</c:v>
                </c:pt>
                <c:pt idx="62">
                  <c:v>2298</c:v>
                </c:pt>
                <c:pt idx="63">
                  <c:v>2500</c:v>
                </c:pt>
                <c:pt idx="64">
                  <c:v>2665</c:v>
                </c:pt>
                <c:pt idx="65">
                  <c:v>2806</c:v>
                </c:pt>
                <c:pt idx="66">
                  <c:v>2802</c:v>
                </c:pt>
                <c:pt idx="67">
                  <c:v>2955</c:v>
                </c:pt>
                <c:pt idx="68">
                  <c:v>3416</c:v>
                </c:pt>
                <c:pt idx="69">
                  <c:v>3622</c:v>
                </c:pt>
                <c:pt idx="70">
                  <c:v>3765</c:v>
                </c:pt>
                <c:pt idx="71">
                  <c:v>3897</c:v>
                </c:pt>
                <c:pt idx="72">
                  <c:v>4060</c:v>
                </c:pt>
                <c:pt idx="73">
                  <c:v>3999</c:v>
                </c:pt>
                <c:pt idx="74">
                  <c:v>4146</c:v>
                </c:pt>
                <c:pt idx="75">
                  <c:v>4805</c:v>
                </c:pt>
                <c:pt idx="76">
                  <c:v>4889</c:v>
                </c:pt>
                <c:pt idx="77">
                  <c:v>4826</c:v>
                </c:pt>
                <c:pt idx="78">
                  <c:v>5200</c:v>
                </c:pt>
                <c:pt idx="79">
                  <c:v>5319</c:v>
                </c:pt>
                <c:pt idx="80">
                  <c:v>5207</c:v>
                </c:pt>
                <c:pt idx="81">
                  <c:v>5420</c:v>
                </c:pt>
                <c:pt idx="82">
                  <c:v>6030</c:v>
                </c:pt>
                <c:pt idx="83">
                  <c:v>6135</c:v>
                </c:pt>
                <c:pt idx="84">
                  <c:v>6238</c:v>
                </c:pt>
                <c:pt idx="85">
                  <c:v>6343</c:v>
                </c:pt>
                <c:pt idx="86">
                  <c:v>6437</c:v>
                </c:pt>
                <c:pt idx="87">
                  <c:v>6217</c:v>
                </c:pt>
                <c:pt idx="88">
                  <c:v>6418</c:v>
                </c:pt>
                <c:pt idx="89">
                  <c:v>7105</c:v>
                </c:pt>
                <c:pt idx="90">
                  <c:v>7028</c:v>
                </c:pt>
                <c:pt idx="91">
                  <c:v>6981</c:v>
                </c:pt>
                <c:pt idx="92">
                  <c:v>7073</c:v>
                </c:pt>
                <c:pt idx="93">
                  <c:v>7035</c:v>
                </c:pt>
                <c:pt idx="94">
                  <c:v>6561</c:v>
                </c:pt>
                <c:pt idx="95">
                  <c:v>6668</c:v>
                </c:pt>
                <c:pt idx="96">
                  <c:v>7138</c:v>
                </c:pt>
                <c:pt idx="97">
                  <c:v>6914</c:v>
                </c:pt>
                <c:pt idx="98">
                  <c:v>6761</c:v>
                </c:pt>
                <c:pt idx="99">
                  <c:v>6592</c:v>
                </c:pt>
                <c:pt idx="100">
                  <c:v>6400</c:v>
                </c:pt>
                <c:pt idx="101">
                  <c:v>5871</c:v>
                </c:pt>
                <c:pt idx="102">
                  <c:v>5897</c:v>
                </c:pt>
                <c:pt idx="103">
                  <c:v>6383</c:v>
                </c:pt>
                <c:pt idx="104">
                  <c:v>6098</c:v>
                </c:pt>
                <c:pt idx="105">
                  <c:v>5848</c:v>
                </c:pt>
                <c:pt idx="106">
                  <c:v>5646</c:v>
                </c:pt>
                <c:pt idx="107">
                  <c:v>5337</c:v>
                </c:pt>
                <c:pt idx="108">
                  <c:v>4817</c:v>
                </c:pt>
                <c:pt idx="109">
                  <c:v>4798</c:v>
                </c:pt>
                <c:pt idx="110">
                  <c:v>5158</c:v>
                </c:pt>
                <c:pt idx="111">
                  <c:v>4908</c:v>
                </c:pt>
                <c:pt idx="112">
                  <c:v>4563</c:v>
                </c:pt>
                <c:pt idx="113">
                  <c:v>4113</c:v>
                </c:pt>
                <c:pt idx="114">
                  <c:v>3501</c:v>
                </c:pt>
                <c:pt idx="115">
                  <c:v>3332</c:v>
                </c:pt>
                <c:pt idx="116">
                  <c:v>3388</c:v>
                </c:pt>
                <c:pt idx="117">
                  <c:v>3749</c:v>
                </c:pt>
                <c:pt idx="118">
                  <c:v>3655</c:v>
                </c:pt>
                <c:pt idx="119">
                  <c:v>3473</c:v>
                </c:pt>
                <c:pt idx="120">
                  <c:v>3278</c:v>
                </c:pt>
                <c:pt idx="121">
                  <c:v>3115</c:v>
                </c:pt>
                <c:pt idx="122">
                  <c:v>2870</c:v>
                </c:pt>
                <c:pt idx="123">
                  <c:v>2890</c:v>
                </c:pt>
                <c:pt idx="124">
                  <c:v>3090</c:v>
                </c:pt>
                <c:pt idx="125">
                  <c:v>2996</c:v>
                </c:pt>
                <c:pt idx="126">
                  <c:v>2852</c:v>
                </c:pt>
                <c:pt idx="127">
                  <c:v>2728</c:v>
                </c:pt>
                <c:pt idx="128">
                  <c:v>2608</c:v>
                </c:pt>
                <c:pt idx="129">
                  <c:v>2375</c:v>
                </c:pt>
                <c:pt idx="130">
                  <c:v>2351</c:v>
                </c:pt>
                <c:pt idx="131">
                  <c:v>2477</c:v>
                </c:pt>
                <c:pt idx="132">
                  <c:v>2312</c:v>
                </c:pt>
                <c:pt idx="133">
                  <c:v>2127</c:v>
                </c:pt>
                <c:pt idx="134">
                  <c:v>2002</c:v>
                </c:pt>
                <c:pt idx="135">
                  <c:v>1850</c:v>
                </c:pt>
                <c:pt idx="136">
                  <c:v>1662</c:v>
                </c:pt>
                <c:pt idx="137">
                  <c:v>1668</c:v>
                </c:pt>
                <c:pt idx="138">
                  <c:v>1827</c:v>
                </c:pt>
                <c:pt idx="139">
                  <c:v>1738</c:v>
                </c:pt>
                <c:pt idx="140">
                  <c:v>1683</c:v>
                </c:pt>
                <c:pt idx="141">
                  <c:v>1660</c:v>
                </c:pt>
                <c:pt idx="142">
                  <c:v>1637</c:v>
                </c:pt>
                <c:pt idx="143">
                  <c:v>1538</c:v>
                </c:pt>
                <c:pt idx="144">
                  <c:v>1614</c:v>
                </c:pt>
                <c:pt idx="145">
                  <c:v>1912</c:v>
                </c:pt>
                <c:pt idx="146">
                  <c:v>1944</c:v>
                </c:pt>
                <c:pt idx="147">
                  <c:v>2035</c:v>
                </c:pt>
                <c:pt idx="148">
                  <c:v>2201</c:v>
                </c:pt>
                <c:pt idx="149">
                  <c:v>2385</c:v>
                </c:pt>
                <c:pt idx="150">
                  <c:v>2212</c:v>
                </c:pt>
                <c:pt idx="151">
                  <c:v>2380</c:v>
                </c:pt>
                <c:pt idx="152">
                  <c:v>2865</c:v>
                </c:pt>
                <c:pt idx="153">
                  <c:v>3065</c:v>
                </c:pt>
                <c:pt idx="154">
                  <c:v>3222</c:v>
                </c:pt>
                <c:pt idx="155">
                  <c:v>3302</c:v>
                </c:pt>
                <c:pt idx="156">
                  <c:v>3410</c:v>
                </c:pt>
                <c:pt idx="157">
                  <c:v>3221</c:v>
                </c:pt>
                <c:pt idx="158">
                  <c:v>3304</c:v>
                </c:pt>
                <c:pt idx="159">
                  <c:v>3913</c:v>
                </c:pt>
                <c:pt idx="160">
                  <c:v>3966</c:v>
                </c:pt>
                <c:pt idx="161">
                  <c:v>4026</c:v>
                </c:pt>
                <c:pt idx="162">
                  <c:v>4092</c:v>
                </c:pt>
                <c:pt idx="163">
                  <c:v>4164</c:v>
                </c:pt>
                <c:pt idx="164">
                  <c:v>3839</c:v>
                </c:pt>
                <c:pt idx="165">
                  <c:v>3867</c:v>
                </c:pt>
                <c:pt idx="166">
                  <c:v>4326</c:v>
                </c:pt>
                <c:pt idx="167">
                  <c:v>4192</c:v>
                </c:pt>
                <c:pt idx="168">
                  <c:v>4097</c:v>
                </c:pt>
                <c:pt idx="169">
                  <c:v>4023</c:v>
                </c:pt>
                <c:pt idx="170">
                  <c:v>3794</c:v>
                </c:pt>
                <c:pt idx="171">
                  <c:v>3486</c:v>
                </c:pt>
                <c:pt idx="172">
                  <c:v>3531</c:v>
                </c:pt>
                <c:pt idx="173">
                  <c:v>3911</c:v>
                </c:pt>
                <c:pt idx="174">
                  <c:v>3663</c:v>
                </c:pt>
                <c:pt idx="175">
                  <c:v>3476</c:v>
                </c:pt>
                <c:pt idx="176">
                  <c:v>3424</c:v>
                </c:pt>
                <c:pt idx="177">
                  <c:v>3253</c:v>
                </c:pt>
                <c:pt idx="178">
                  <c:v>2898</c:v>
                </c:pt>
                <c:pt idx="179">
                  <c:v>2925</c:v>
                </c:pt>
                <c:pt idx="180">
                  <c:v>3248</c:v>
                </c:pt>
                <c:pt idx="181">
                  <c:v>3010</c:v>
                </c:pt>
                <c:pt idx="182">
                  <c:v>2767</c:v>
                </c:pt>
                <c:pt idx="183">
                  <c:v>2629</c:v>
                </c:pt>
                <c:pt idx="184">
                  <c:v>2515</c:v>
                </c:pt>
                <c:pt idx="185">
                  <c:v>2200</c:v>
                </c:pt>
                <c:pt idx="186">
                  <c:v>2251</c:v>
                </c:pt>
                <c:pt idx="187">
                  <c:v>2556</c:v>
                </c:pt>
                <c:pt idx="188">
                  <c:v>2472</c:v>
                </c:pt>
                <c:pt idx="189">
                  <c:v>2398</c:v>
                </c:pt>
                <c:pt idx="190">
                  <c:v>2332</c:v>
                </c:pt>
                <c:pt idx="191">
                  <c:v>2323</c:v>
                </c:pt>
                <c:pt idx="192">
                  <c:v>2137</c:v>
                </c:pt>
                <c:pt idx="193">
                  <c:v>2175</c:v>
                </c:pt>
                <c:pt idx="194">
                  <c:v>2492</c:v>
                </c:pt>
                <c:pt idx="195">
                  <c:v>2434</c:v>
                </c:pt>
                <c:pt idx="196">
                  <c:v>2373</c:v>
                </c:pt>
                <c:pt idx="197">
                  <c:v>2310</c:v>
                </c:pt>
                <c:pt idx="198">
                  <c:v>2281</c:v>
                </c:pt>
                <c:pt idx="199">
                  <c:v>2051</c:v>
                </c:pt>
                <c:pt idx="200">
                  <c:v>2089</c:v>
                </c:pt>
                <c:pt idx="201">
                  <c:v>2357</c:v>
                </c:pt>
                <c:pt idx="202">
                  <c:v>2286</c:v>
                </c:pt>
                <c:pt idx="203">
                  <c:v>2189</c:v>
                </c:pt>
                <c:pt idx="204">
                  <c:v>2086</c:v>
                </c:pt>
                <c:pt idx="205">
                  <c:v>2077</c:v>
                </c:pt>
                <c:pt idx="206">
                  <c:v>1802</c:v>
                </c:pt>
                <c:pt idx="207">
                  <c:v>1822</c:v>
                </c:pt>
                <c:pt idx="208">
                  <c:v>2128</c:v>
                </c:pt>
                <c:pt idx="209">
                  <c:v>2027</c:v>
                </c:pt>
                <c:pt idx="210">
                  <c:v>1914</c:v>
                </c:pt>
                <c:pt idx="211">
                  <c:v>1843</c:v>
                </c:pt>
                <c:pt idx="212">
                  <c:v>1775</c:v>
                </c:pt>
                <c:pt idx="213">
                  <c:v>1612</c:v>
                </c:pt>
                <c:pt idx="214">
                  <c:v>1587</c:v>
                </c:pt>
                <c:pt idx="215">
                  <c:v>1821</c:v>
                </c:pt>
                <c:pt idx="216">
                  <c:v>1786</c:v>
                </c:pt>
                <c:pt idx="217">
                  <c:v>1695</c:v>
                </c:pt>
                <c:pt idx="218">
                  <c:v>1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47</c:f>
              <c:numCache>
                <c:formatCode>General</c:formatCode>
                <c:ptCount val="246"/>
                <c:pt idx="0">
                  <c:v>10.906399302941281</c:v>
                </c:pt>
                <c:pt idx="1">
                  <c:v>11.006864666764159</c:v>
                </c:pt>
                <c:pt idx="2">
                  <c:v>11.101992696116213</c:v>
                </c:pt>
                <c:pt idx="3">
                  <c:v>11.191995222849073</c:v>
                </c:pt>
                <c:pt idx="4">
                  <c:v>11.277564086019993</c:v>
                </c:pt>
                <c:pt idx="5">
                  <c:v>11.359158608422149</c:v>
                </c:pt>
                <c:pt idx="6">
                  <c:v>11.436617888015462</c:v>
                </c:pt>
                <c:pt idx="7">
                  <c:v>11.509818893886404</c:v>
                </c:pt>
                <c:pt idx="8">
                  <c:v>11.646570369688561</c:v>
                </c:pt>
                <c:pt idx="9">
                  <c:v>11.832105954177678</c:v>
                </c:pt>
                <c:pt idx="10">
                  <c:v>0.89495774569486386</c:v>
                </c:pt>
                <c:pt idx="11">
                  <c:v>2.371296230458519</c:v>
                </c:pt>
                <c:pt idx="12">
                  <c:v>4.0340433171065584</c:v>
                </c:pt>
                <c:pt idx="13">
                  <c:v>5.9234840889381601</c:v>
                </c:pt>
                <c:pt idx="14">
                  <c:v>8.0814381841141216</c:v>
                </c:pt>
                <c:pt idx="15">
                  <c:v>10.548950677150492</c:v>
                </c:pt>
                <c:pt idx="16">
                  <c:v>13.365088119747037</c:v>
                </c:pt>
                <c:pt idx="17">
                  <c:v>16.565388625336457</c:v>
                </c:pt>
                <c:pt idx="18">
                  <c:v>20.183567631856562</c:v>
                </c:pt>
                <c:pt idx="19">
                  <c:v>24.251389765433135</c:v>
                </c:pt>
                <c:pt idx="20">
                  <c:v>28.798417478055516</c:v>
                </c:pt>
                <c:pt idx="21">
                  <c:v>33.852564097667035</c:v>
                </c:pt>
                <c:pt idx="22">
                  <c:v>39.439110028235163</c:v>
                </c:pt>
                <c:pt idx="23">
                  <c:v>45.580157393388198</c:v>
                </c:pt>
                <c:pt idx="24">
                  <c:v>52.296510866236787</c:v>
                </c:pt>
                <c:pt idx="25">
                  <c:v>59.609406524433787</c:v>
                </c:pt>
                <c:pt idx="26">
                  <c:v>67.540553348570114</c:v>
                </c:pt>
                <c:pt idx="27">
                  <c:v>76.111191613546339</c:v>
                </c:pt>
                <c:pt idx="28">
                  <c:v>85.342478031037885</c:v>
                </c:pt>
                <c:pt idx="29">
                  <c:v>95.255971042071366</c:v>
                </c:pt>
                <c:pt idx="30">
                  <c:v>105.87341417016626</c:v>
                </c:pt>
                <c:pt idx="31">
                  <c:v>117.21725535991835</c:v>
                </c:pt>
                <c:pt idx="32">
                  <c:v>129.3121543738431</c:v>
                </c:pt>
                <c:pt idx="33">
                  <c:v>142.18509122340515</c:v>
                </c:pt>
                <c:pt idx="34">
                  <c:v>155.86444570218077</c:v>
                </c:pt>
                <c:pt idx="35">
                  <c:v>170.38112923376454</c:v>
                </c:pt>
                <c:pt idx="36">
                  <c:v>185.76728359191031</c:v>
                </c:pt>
                <c:pt idx="37">
                  <c:v>202.05634279466071</c:v>
                </c:pt>
                <c:pt idx="38">
                  <c:v>219.82063099405758</c:v>
                </c:pt>
                <c:pt idx="39">
                  <c:v>239.51690508056987</c:v>
                </c:pt>
                <c:pt idx="40">
                  <c:v>261.48146417730129</c:v>
                </c:pt>
                <c:pt idx="41">
                  <c:v>285.99413063722886</c:v>
                </c:pt>
                <c:pt idx="42">
                  <c:v>313.31890354625472</c:v>
                </c:pt>
                <c:pt idx="43">
                  <c:v>343.72272863954993</c:v>
                </c:pt>
                <c:pt idx="44">
                  <c:v>377.48509874539343</c:v>
                </c:pt>
                <c:pt idx="45">
                  <c:v>414.89630397024024</c:v>
                </c:pt>
                <c:pt idx="46">
                  <c:v>456.26143717120181</c:v>
                </c:pt>
                <c:pt idx="47">
                  <c:v>501.89853448689439</c:v>
                </c:pt>
                <c:pt idx="48">
                  <c:v>552.14499091861501</c:v>
                </c:pt>
                <c:pt idx="49">
                  <c:v>607.35660073122767</c:v>
                </c:pt>
                <c:pt idx="50">
                  <c:v>667.913578948907</c:v>
                </c:pt>
                <c:pt idx="51">
                  <c:v>734.22420575685544</c:v>
                </c:pt>
                <c:pt idx="52">
                  <c:v>806.71462088669159</c:v>
                </c:pt>
                <c:pt idx="53">
                  <c:v>885.82010313947694</c:v>
                </c:pt>
                <c:pt idx="54">
                  <c:v>972.00405775025865</c:v>
                </c:pt>
                <c:pt idx="55">
                  <c:v>1065.7685749287702</c:v>
                </c:pt>
                <c:pt idx="56">
                  <c:v>1167.6588385879973</c:v>
                </c:pt>
                <c:pt idx="57">
                  <c:v>1278.2589346195448</c:v>
                </c:pt>
                <c:pt idx="58">
                  <c:v>1398.1893891890713</c:v>
                </c:pt>
                <c:pt idx="59">
                  <c:v>1528.1069550345881</c:v>
                </c:pt>
                <c:pt idx="60">
                  <c:v>1668.7088489861981</c:v>
                </c:pt>
                <c:pt idx="61">
                  <c:v>1820.7343574920269</c:v>
                </c:pt>
                <c:pt idx="62">
                  <c:v>1980.8799781611301</c:v>
                </c:pt>
                <c:pt idx="63">
                  <c:v>2146.6819954051862</c:v>
                </c:pt>
                <c:pt idx="64">
                  <c:v>2316.6657562391078</c:v>
                </c:pt>
                <c:pt idx="65">
                  <c:v>2489.905772435759</c:v>
                </c:pt>
                <c:pt idx="66">
                  <c:v>2665.7151051596229</c:v>
                </c:pt>
                <c:pt idx="67">
                  <c:v>2843.5205044569461</c:v>
                </c:pt>
                <c:pt idx="68">
                  <c:v>3022.7919580576981</c:v>
                </c:pt>
                <c:pt idx="69">
                  <c:v>3204.8700520519819</c:v>
                </c:pt>
                <c:pt idx="70">
                  <c:v>3390.7061410875231</c:v>
                </c:pt>
                <c:pt idx="71">
                  <c:v>3580.8811372896685</c:v>
                </c:pt>
                <c:pt idx="72">
                  <c:v>3775.7719046470284</c:v>
                </c:pt>
                <c:pt idx="73">
                  <c:v>3975.6978471291504</c:v>
                </c:pt>
                <c:pt idx="74">
                  <c:v>4180.9563949033</c:v>
                </c:pt>
                <c:pt idx="75">
                  <c:v>4391.8191470810898</c:v>
                </c:pt>
                <c:pt idx="76">
                  <c:v>4608.570829041194</c:v>
                </c:pt>
                <c:pt idx="77">
                  <c:v>4831.6097619514039</c:v>
                </c:pt>
                <c:pt idx="78">
                  <c:v>5056.2358672888859</c:v>
                </c:pt>
                <c:pt idx="79">
                  <c:v>5287.2730047236191</c:v>
                </c:pt>
                <c:pt idx="80">
                  <c:v>5524.786305708737</c:v>
                </c:pt>
                <c:pt idx="81">
                  <c:v>5768.7515797665747</c:v>
                </c:pt>
                <c:pt idx="82">
                  <c:v>6019.0662300064896</c:v>
                </c:pt>
                <c:pt idx="83">
                  <c:v>6264.2022578834112</c:v>
                </c:pt>
                <c:pt idx="84">
                  <c:v>6495.352917039465</c:v>
                </c:pt>
                <c:pt idx="85">
                  <c:v>6700.5127670149805</c:v>
                </c:pt>
                <c:pt idx="86">
                  <c:v>6883.0998856606057</c:v>
                </c:pt>
                <c:pt idx="87">
                  <c:v>7041.5761095229655</c:v>
                </c:pt>
                <c:pt idx="88">
                  <c:v>7175.1995765693473</c:v>
                </c:pt>
                <c:pt idx="89">
                  <c:v>7283.7125414143902</c:v>
                </c:pt>
                <c:pt idx="90">
                  <c:v>7367.2535371972426</c:v>
                </c:pt>
                <c:pt idx="91">
                  <c:v>7426.2901643123269</c:v>
                </c:pt>
                <c:pt idx="92">
                  <c:v>7453.9924360284358</c:v>
                </c:pt>
                <c:pt idx="93">
                  <c:v>7458.9025044548198</c:v>
                </c:pt>
                <c:pt idx="94">
                  <c:v>7442.2312980145271</c:v>
                </c:pt>
                <c:pt idx="95">
                  <c:v>7405.2860506964771</c:v>
                </c:pt>
                <c:pt idx="96">
                  <c:v>7349.3827286993801</c:v>
                </c:pt>
                <c:pt idx="97">
                  <c:v>7276.0465363655676</c:v>
                </c:pt>
                <c:pt idx="98">
                  <c:v>7187.3248428237976</c:v>
                </c:pt>
                <c:pt idx="99">
                  <c:v>7077.9656119549145</c:v>
                </c:pt>
                <c:pt idx="100">
                  <c:v>6957.5113230172838</c:v>
                </c:pt>
                <c:pt idx="101">
                  <c:v>6827.6603619480384</c:v>
                </c:pt>
                <c:pt idx="102">
                  <c:v>6689.9052830602805</c:v>
                </c:pt>
                <c:pt idx="103">
                  <c:v>6545.5669169954017</c:v>
                </c:pt>
                <c:pt idx="104">
                  <c:v>6395.821208433149</c:v>
                </c:pt>
                <c:pt idx="105">
                  <c:v>6241.789032590138</c:v>
                </c:pt>
                <c:pt idx="106">
                  <c:v>6091.0707947998526</c:v>
                </c:pt>
                <c:pt idx="107">
                  <c:v>5937.6922666281389</c:v>
                </c:pt>
                <c:pt idx="108">
                  <c:v>5782.4167828388663</c:v>
                </c:pt>
                <c:pt idx="109">
                  <c:v>5625.8985378205389</c:v>
                </c:pt>
                <c:pt idx="110">
                  <c:v>5468.7059021604291</c:v>
                </c:pt>
                <c:pt idx="111">
                  <c:v>5311.3224465516341</c:v>
                </c:pt>
                <c:pt idx="112">
                  <c:v>5154.1765125446273</c:v>
                </c:pt>
                <c:pt idx="113">
                  <c:v>5003.1666181935934</c:v>
                </c:pt>
                <c:pt idx="114">
                  <c:v>4852.807512133053</c:v>
                </c:pt>
                <c:pt idx="115">
                  <c:v>4703.4077967723624</c:v>
                </c:pt>
                <c:pt idx="116">
                  <c:v>4555.2551253640022</c:v>
                </c:pt>
                <c:pt idx="117">
                  <c:v>4408.604537529669</c:v>
                </c:pt>
                <c:pt idx="118">
                  <c:v>4263.672018311634</c:v>
                </c:pt>
                <c:pt idx="119">
                  <c:v>4120.6491506341135</c:v>
                </c:pt>
                <c:pt idx="120">
                  <c:v>3984.176168487119</c:v>
                </c:pt>
                <c:pt idx="121">
                  <c:v>3847.9981950758811</c:v>
                </c:pt>
                <c:pt idx="122">
                  <c:v>3779.6664392780617</c:v>
                </c:pt>
                <c:pt idx="123">
                  <c:v>3712.478890715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C$2:$C$247</c:f>
              <c:numCache>
                <c:formatCode>General</c:formatCode>
                <c:ptCount val="246"/>
                <c:pt idx="122">
                  <c:v>3700.6507747265746</c:v>
                </c:pt>
                <c:pt idx="123">
                  <c:v>3575.1741734672187</c:v>
                </c:pt>
                <c:pt idx="124">
                  <c:v>3451.8212327057445</c:v>
                </c:pt>
                <c:pt idx="125">
                  <c:v>3330.7068009852164</c:v>
                </c:pt>
                <c:pt idx="126">
                  <c:v>3211.9302602029843</c:v>
                </c:pt>
                <c:pt idx="127">
                  <c:v>3095.5777981524998</c:v>
                </c:pt>
                <c:pt idx="128">
                  <c:v>2981.7236110340596</c:v>
                </c:pt>
                <c:pt idx="129">
                  <c:v>2870.4308047313339</c:v>
                </c:pt>
                <c:pt idx="130">
                  <c:v>2761.7517847744498</c:v>
                </c:pt>
                <c:pt idx="131">
                  <c:v>2655.7319370443538</c:v>
                </c:pt>
                <c:pt idx="132">
                  <c:v>2554.4562197140135</c:v>
                </c:pt>
                <c:pt idx="133">
                  <c:v>2459.3353668178756</c:v>
                </c:pt>
                <c:pt idx="134">
                  <c:v>2371.0372711414566</c:v>
                </c:pt>
                <c:pt idx="135">
                  <c:v>2289.7764949863458</c:v>
                </c:pt>
                <c:pt idx="136">
                  <c:v>2215.5165377155563</c:v>
                </c:pt>
                <c:pt idx="137">
                  <c:v>2148.0834435121055</c:v>
                </c:pt>
                <c:pt idx="138">
                  <c:v>2087.2255968651843</c:v>
                </c:pt>
                <c:pt idx="139">
                  <c:v>2032.6247191234634</c:v>
                </c:pt>
                <c:pt idx="140">
                  <c:v>1983.9103024905469</c:v>
                </c:pt>
                <c:pt idx="141">
                  <c:v>1940.66186690772</c:v>
                </c:pt>
                <c:pt idx="142">
                  <c:v>1902.4486812179314</c:v>
                </c:pt>
                <c:pt idx="143">
                  <c:v>1868.8246095161314</c:v>
                </c:pt>
                <c:pt idx="144">
                  <c:v>1839.3504224163478</c:v>
                </c:pt>
                <c:pt idx="145">
                  <c:v>1813.6078448600438</c:v>
                </c:pt>
                <c:pt idx="146">
                  <c:v>1791.155239124914</c:v>
                </c:pt>
                <c:pt idx="147">
                  <c:v>1771.4717173397223</c:v>
                </c:pt>
                <c:pt idx="148">
                  <c:v>1754.0398397381919</c:v>
                </c:pt>
                <c:pt idx="149">
                  <c:v>1738.4116843504075</c:v>
                </c:pt>
                <c:pt idx="150">
                  <c:v>1724.2103779239621</c:v>
                </c:pt>
                <c:pt idx="151">
                  <c:v>1711.1166117689927</c:v>
                </c:pt>
                <c:pt idx="152">
                  <c:v>1698.8592428521192</c:v>
                </c:pt>
                <c:pt idx="153">
                  <c:v>1687.2045233318547</c:v>
                </c:pt>
                <c:pt idx="154">
                  <c:v>1675.9371042929931</c:v>
                </c:pt>
                <c:pt idx="155">
                  <c:v>1664.869161789238</c:v>
                </c:pt>
                <c:pt idx="156">
                  <c:v>1653.8477541666703</c:v>
                </c:pt>
                <c:pt idx="157">
                  <c:v>1642.7470920830847</c:v>
                </c:pt>
                <c:pt idx="158">
                  <c:v>1631.4708726549152</c:v>
                </c:pt>
                <c:pt idx="159">
                  <c:v>1619.9457783617115</c:v>
                </c:pt>
                <c:pt idx="160">
                  <c:v>1608.1164182539667</c:v>
                </c:pt>
                <c:pt idx="161">
                  <c:v>1595.9449655972949</c:v>
                </c:pt>
                <c:pt idx="162">
                  <c:v>1583.4076573575637</c:v>
                </c:pt>
                <c:pt idx="163">
                  <c:v>1570.4921465617324</c:v>
                </c:pt>
                <c:pt idx="164">
                  <c:v>1557.1936812698143</c:v>
                </c:pt>
                <c:pt idx="165">
                  <c:v>1543.5146610912532</c:v>
                </c:pt>
                <c:pt idx="166">
                  <c:v>1529.4655735561521</c:v>
                </c:pt>
                <c:pt idx="167">
                  <c:v>1515.0626691981035</c:v>
                </c:pt>
                <c:pt idx="168">
                  <c:v>1500.3251814739967</c:v>
                </c:pt>
                <c:pt idx="169">
                  <c:v>1485.2719143283564</c:v>
                </c:pt>
                <c:pt idx="170">
                  <c:v>1469.9219746993942</c:v>
                </c:pt>
                <c:pt idx="171">
                  <c:v>1454.2938407099214</c:v>
                </c:pt>
                <c:pt idx="172">
                  <c:v>1438.4086354984333</c:v>
                </c:pt>
                <c:pt idx="173">
                  <c:v>1422.2891709801488</c:v>
                </c:pt>
                <c:pt idx="174">
                  <c:v>1405.9581312714488</c:v>
                </c:pt>
                <c:pt idx="175">
                  <c:v>1389.438288681858</c:v>
                </c:pt>
                <c:pt idx="176">
                  <c:v>1372.751786301463</c:v>
                </c:pt>
                <c:pt idx="177">
                  <c:v>1355.9198274592077</c:v>
                </c:pt>
                <c:pt idx="178">
                  <c:v>1338.9626530210996</c:v>
                </c:pt>
                <c:pt idx="179">
                  <c:v>1321.8995366256718</c:v>
                </c:pt>
                <c:pt idx="180">
                  <c:v>1304.7480061581839</c:v>
                </c:pt>
                <c:pt idx="181">
                  <c:v>1287.5247882388517</c:v>
                </c:pt>
                <c:pt idx="182">
                  <c:v>1270.2458857563972</c:v>
                </c:pt>
                <c:pt idx="183">
                  <c:v>1252.9264493519461</c:v>
                </c:pt>
                <c:pt idx="184">
                  <c:v>1235.5807168696324</c:v>
                </c:pt>
                <c:pt idx="185">
                  <c:v>1218.2220754741179</c:v>
                </c:pt>
                <c:pt idx="186">
                  <c:v>1200.8630912989222</c:v>
                </c:pt>
                <c:pt idx="187">
                  <c:v>1183.5155950749959</c:v>
                </c:pt>
                <c:pt idx="188">
                  <c:v>1166.1907479387025</c:v>
                </c:pt>
                <c:pt idx="189">
                  <c:v>1148.8991078898084</c:v>
                </c:pt>
                <c:pt idx="190">
                  <c:v>1131.6506348394689</c:v>
                </c:pt>
                <c:pt idx="191">
                  <c:v>1114.4547199644016</c:v>
                </c:pt>
                <c:pt idx="192">
                  <c:v>1097.3202265277496</c:v>
                </c:pt>
                <c:pt idx="193">
                  <c:v>1080.2555067263941</c:v>
                </c:pt>
                <c:pt idx="194">
                  <c:v>1063.268440468717</c:v>
                </c:pt>
                <c:pt idx="195">
                  <c:v>1046.366467241792</c:v>
                </c:pt>
                <c:pt idx="196">
                  <c:v>1029.5566063788303</c:v>
                </c:pt>
                <c:pt idx="197">
                  <c:v>1012.8454816315909</c:v>
                </c:pt>
                <c:pt idx="198">
                  <c:v>996.23933135370964</c:v>
                </c:pt>
                <c:pt idx="199">
                  <c:v>979.7440345590727</c:v>
                </c:pt>
                <c:pt idx="200">
                  <c:v>963.36511758179392</c:v>
                </c:pt>
                <c:pt idx="201">
                  <c:v>947.10778342498952</c:v>
                </c:pt>
                <c:pt idx="202">
                  <c:v>930.97692626801438</c:v>
                </c:pt>
                <c:pt idx="203">
                  <c:v>914.97713908599906</c:v>
                </c:pt>
                <c:pt idx="204">
                  <c:v>899.11272853961123</c:v>
                </c:pt>
                <c:pt idx="205">
                  <c:v>883.38773045050993</c:v>
                </c:pt>
                <c:pt idx="206">
                  <c:v>867.80591795192095</c:v>
                </c:pt>
                <c:pt idx="207">
                  <c:v>852.37081402644026</c:v>
                </c:pt>
                <c:pt idx="208">
                  <c:v>837.08570035228615</c:v>
                </c:pt>
                <c:pt idx="209">
                  <c:v>821.95362287268858</c:v>
                </c:pt>
                <c:pt idx="210">
                  <c:v>806.97739788281876</c:v>
                </c:pt>
                <c:pt idx="211">
                  <c:v>792.15962486872161</c:v>
                </c:pt>
                <c:pt idx="212">
                  <c:v>777.5026936495475</c:v>
                </c:pt>
                <c:pt idx="213">
                  <c:v>763.00879120632703</c:v>
                </c:pt>
                <c:pt idx="214">
                  <c:v>748.67990838731384</c:v>
                </c:pt>
                <c:pt idx="215">
                  <c:v>734.51784634834678</c:v>
                </c:pt>
                <c:pt idx="216">
                  <c:v>720.52422287032414</c:v>
                </c:pt>
                <c:pt idx="217">
                  <c:v>706.70047853029791</c:v>
                </c:pt>
                <c:pt idx="218">
                  <c:v>693.04788277155421</c:v>
                </c:pt>
                <c:pt idx="219">
                  <c:v>679.56753972041736</c:v>
                </c:pt>
                <c:pt idx="220">
                  <c:v>666.26039383592388</c:v>
                </c:pt>
                <c:pt idx="221">
                  <c:v>653.12723545289919</c:v>
                </c:pt>
                <c:pt idx="222">
                  <c:v>640.168706168472</c:v>
                </c:pt>
                <c:pt idx="223">
                  <c:v>627.38530415171954</c:v>
                </c:pt>
                <c:pt idx="224">
                  <c:v>614.77738935104787</c:v>
                </c:pt>
                <c:pt idx="225">
                  <c:v>602.345188584629</c:v>
                </c:pt>
                <c:pt idx="226">
                  <c:v>590.08880055841053</c:v>
                </c:pt>
                <c:pt idx="227">
                  <c:v>578.00820078993104</c:v>
                </c:pt>
                <c:pt idx="228">
                  <c:v>566.10324648365918</c:v>
                </c:pt>
                <c:pt idx="229">
                  <c:v>554.37368130827554</c:v>
                </c:pt>
                <c:pt idx="230">
                  <c:v>542.81914012328923</c:v>
                </c:pt>
                <c:pt idx="231">
                  <c:v>531.43915361932761</c:v>
                </c:pt>
                <c:pt idx="232">
                  <c:v>520.23315286626428</c:v>
                </c:pt>
                <c:pt idx="233">
                  <c:v>509.2004737883193</c:v>
                </c:pt>
                <c:pt idx="234">
                  <c:v>498.34036157244179</c:v>
                </c:pt>
                <c:pt idx="235">
                  <c:v>487.65197498431246</c:v>
                </c:pt>
                <c:pt idx="236">
                  <c:v>477.13439060995006</c:v>
                </c:pt>
                <c:pt idx="237">
                  <c:v>466.78660700965838</c:v>
                </c:pt>
                <c:pt idx="238">
                  <c:v>456.60754878387297</c:v>
                </c:pt>
                <c:pt idx="239">
                  <c:v>446.59607053929705</c:v>
                </c:pt>
                <c:pt idx="240">
                  <c:v>436.75096078063109</c:v>
                </c:pt>
                <c:pt idx="241">
                  <c:v>427.07094570762399</c:v>
                </c:pt>
                <c:pt idx="242">
                  <c:v>417.55469291751564</c:v>
                </c:pt>
                <c:pt idx="243">
                  <c:v>408.20081501239218</c:v>
                </c:pt>
                <c:pt idx="244">
                  <c:v>399.00787311079813</c:v>
                </c:pt>
                <c:pt idx="245">
                  <c:v>389.97438026296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F$2:$F$247</c:f>
              <c:numCache>
                <c:formatCode>General</c:formatCode>
                <c:ptCount val="246"/>
                <c:pt idx="128">
                  <c:v>3088.318636930941</c:v>
                </c:pt>
                <c:pt idx="129">
                  <c:v>3040.8462170980793</c:v>
                </c:pt>
                <c:pt idx="130">
                  <c:v>2993.3737972652175</c:v>
                </c:pt>
                <c:pt idx="131">
                  <c:v>2988.1021406400009</c:v>
                </c:pt>
                <c:pt idx="132">
                  <c:v>2991.952970828213</c:v>
                </c:pt>
                <c:pt idx="133">
                  <c:v>3004.7346475705394</c:v>
                </c:pt>
                <c:pt idx="134">
                  <c:v>3026.1652168627138</c:v>
                </c:pt>
                <c:pt idx="135">
                  <c:v>3055.9312389224992</c:v>
                </c:pt>
                <c:pt idx="136">
                  <c:v>3093.6707343456947</c:v>
                </c:pt>
                <c:pt idx="137">
                  <c:v>3139.0058771379177</c:v>
                </c:pt>
                <c:pt idx="138">
                  <c:v>3191.5623812651497</c:v>
                </c:pt>
                <c:pt idx="139">
                  <c:v>3250.8904250618698</c:v>
                </c:pt>
                <c:pt idx="140">
                  <c:v>3316.3655857584467</c:v>
                </c:pt>
                <c:pt idx="141">
                  <c:v>3387.3271561960128</c:v>
                </c:pt>
                <c:pt idx="142">
                  <c:v>3463.1852683283782</c:v>
                </c:pt>
                <c:pt idx="143">
                  <c:v>3543.4191327859157</c:v>
                </c:pt>
                <c:pt idx="144">
                  <c:v>3627.5538472738222</c:v>
                </c:pt>
                <c:pt idx="145">
                  <c:v>3715.1465031019447</c:v>
                </c:pt>
                <c:pt idx="146">
                  <c:v>3805.7704950908455</c:v>
                </c:pt>
                <c:pt idx="147">
                  <c:v>3898.9857757511704</c:v>
                </c:pt>
                <c:pt idx="148">
                  <c:v>3994.3566193963084</c:v>
                </c:pt>
                <c:pt idx="149">
                  <c:v>4091.466021899937</c:v>
                </c:pt>
                <c:pt idx="150">
                  <c:v>4189.9040595255101</c:v>
                </c:pt>
                <c:pt idx="151">
                  <c:v>4289.2746976934486</c:v>
                </c:pt>
                <c:pt idx="152">
                  <c:v>4389.1875105910149</c:v>
                </c:pt>
                <c:pt idx="153">
                  <c:v>4489.252089311949</c:v>
                </c:pt>
                <c:pt idx="154">
                  <c:v>4589.0704846952885</c:v>
                </c:pt>
                <c:pt idx="155">
                  <c:v>4688.2372818819058</c:v>
                </c:pt>
                <c:pt idx="156">
                  <c:v>4786.3421252342905</c:v>
                </c:pt>
                <c:pt idx="157">
                  <c:v>4882.9682211833424</c:v>
                </c:pt>
                <c:pt idx="158">
                  <c:v>4977.6960236182822</c:v>
                </c:pt>
                <c:pt idx="159">
                  <c:v>5070.1090732931771</c:v>
                </c:pt>
                <c:pt idx="160">
                  <c:v>5159.7941354579216</c:v>
                </c:pt>
                <c:pt idx="161">
                  <c:v>5246.3608702131678</c:v>
                </c:pt>
                <c:pt idx="162">
                  <c:v>5329.4347783051817</c:v>
                </c:pt>
                <c:pt idx="163">
                  <c:v>5408.6568056673186</c:v>
                </c:pt>
                <c:pt idx="164">
                  <c:v>5483.6821334499282</c:v>
                </c:pt>
                <c:pt idx="165">
                  <c:v>5554.1877572500089</c:v>
                </c:pt>
                <c:pt idx="166">
                  <c:v>5619.8731986201983</c:v>
                </c:pt>
                <c:pt idx="167">
                  <c:v>5680.4600548025755</c:v>
                </c:pt>
                <c:pt idx="168">
                  <c:v>5735.6948115955929</c:v>
                </c:pt>
                <c:pt idx="169">
                  <c:v>5785.3500940379417</c:v>
                </c:pt>
                <c:pt idx="170">
                  <c:v>5829.2258782996378</c:v>
                </c:pt>
                <c:pt idx="171">
                  <c:v>5867.1509274320852</c:v>
                </c:pt>
                <c:pt idx="172">
                  <c:v>5898.9838520922058</c:v>
                </c:pt>
                <c:pt idx="173">
                  <c:v>5924.6128282659165</c:v>
                </c:pt>
                <c:pt idx="174">
                  <c:v>5943.9579213279048</c:v>
                </c:pt>
                <c:pt idx="175">
                  <c:v>5956.9712378841396</c:v>
                </c:pt>
                <c:pt idx="176">
                  <c:v>5963.6359759147308</c:v>
                </c:pt>
                <c:pt idx="177">
                  <c:v>5963.9659388367181</c:v>
                </c:pt>
                <c:pt idx="178">
                  <c:v>5958.0054568619216</c:v>
                </c:pt>
                <c:pt idx="179">
                  <c:v>5945.8289837674856</c:v>
                </c:pt>
                <c:pt idx="180">
                  <c:v>5927.5403774987335</c:v>
                </c:pt>
                <c:pt idx="181">
                  <c:v>5903.2718439096479</c:v>
                </c:pt>
                <c:pt idx="182">
                  <c:v>5873.1825739699743</c:v>
                </c:pt>
                <c:pt idx="183">
                  <c:v>5837.4569213878949</c:v>
                </c:pt>
                <c:pt idx="184">
                  <c:v>5796.3025292171606</c:v>
                </c:pt>
                <c:pt idx="185">
                  <c:v>5721.2934785950774</c:v>
                </c:pt>
                <c:pt idx="186">
                  <c:v>5639.8261533054701</c:v>
                </c:pt>
                <c:pt idx="187">
                  <c:v>5552.3015217237453</c:v>
                </c:pt>
                <c:pt idx="188">
                  <c:v>5459.1374021031315</c:v>
                </c:pt>
                <c:pt idx="189">
                  <c:v>5360.7650026967503</c:v>
                </c:pt>
                <c:pt idx="190">
                  <c:v>5257.6254526105658</c:v>
                </c:pt>
                <c:pt idx="191">
                  <c:v>5150.1663837636997</c:v>
                </c:pt>
                <c:pt idx="192">
                  <c:v>5038.8386343189313</c:v>
                </c:pt>
                <c:pt idx="193">
                  <c:v>4924.0930345599927</c:v>
                </c:pt>
                <c:pt idx="194">
                  <c:v>4806.3774066785199</c:v>
                </c:pt>
                <c:pt idx="195">
                  <c:v>4686.1337523689435</c:v>
                </c:pt>
                <c:pt idx="196">
                  <c:v>4563.7956349975157</c:v>
                </c:pt>
                <c:pt idx="197">
                  <c:v>4439.7857785767801</c:v>
                </c:pt>
                <c:pt idx="198">
                  <c:v>4314.5138845016672</c:v>
                </c:pt>
                <c:pt idx="199">
                  <c:v>4188.3747012484446</c:v>
                </c:pt>
                <c:pt idx="200">
                  <c:v>4061.746352664687</c:v>
                </c:pt>
                <c:pt idx="201">
                  <c:v>3934.9889561398536</c:v>
                </c:pt>
                <c:pt idx="202">
                  <c:v>3808.4434843876916</c:v>
                </c:pt>
                <c:pt idx="203">
                  <c:v>3682.4308454963116</c:v>
                </c:pt>
                <c:pt idx="204">
                  <c:v>3557.2512226259696</c:v>
                </c:pt>
                <c:pt idx="205">
                  <c:v>3433.1836230200342</c:v>
                </c:pt>
                <c:pt idx="206">
                  <c:v>3310.4856353819418</c:v>
                </c:pt>
                <c:pt idx="207">
                  <c:v>3189.3933807706112</c:v>
                </c:pt>
                <c:pt idx="208">
                  <c:v>3070.1216401493266</c:v>
                </c:pt>
                <c:pt idx="209">
                  <c:v>2952.864129711249</c:v>
                </c:pt>
                <c:pt idx="210">
                  <c:v>2837.7939319823677</c:v>
                </c:pt>
                <c:pt idx="211">
                  <c:v>2725.0640524911842</c:v>
                </c:pt>
                <c:pt idx="212">
                  <c:v>2614.8080823124769</c:v>
                </c:pt>
                <c:pt idx="213">
                  <c:v>2507.1409498796506</c:v>
                </c:pt>
                <c:pt idx="214">
                  <c:v>2402.1597472679905</c:v>
                </c:pt>
                <c:pt idx="215">
                  <c:v>2299.9446153200038</c:v>
                </c:pt>
                <c:pt idx="216">
                  <c:v>2200.5596738867985</c:v>
                </c:pt>
                <c:pt idx="217">
                  <c:v>2104.0539837978185</c:v>
                </c:pt>
                <c:pt idx="218">
                  <c:v>2010.4625285175391</c:v>
                </c:pt>
                <c:pt idx="219">
                  <c:v>1919.8072038168154</c:v>
                </c:pt>
                <c:pt idx="220">
                  <c:v>1832.0978058903906</c:v>
                </c:pt>
                <c:pt idx="221">
                  <c:v>1747.3330094162191</c:v>
                </c:pt>
                <c:pt idx="222">
                  <c:v>1665.5013277187873</c:v>
                </c:pt>
                <c:pt idx="223">
                  <c:v>1586.5820488104803</c:v>
                </c:pt>
                <c:pt idx="224">
                  <c:v>1510.5461417104389</c:v>
                </c:pt>
                <c:pt idx="225">
                  <c:v>1437.3571284583127</c:v>
                </c:pt>
                <c:pt idx="226">
                  <c:v>1366.9719183763484</c:v>
                </c:pt>
                <c:pt idx="227">
                  <c:v>1299.3416017074128</c:v>
                </c:pt>
                <c:pt idx="228">
                  <c:v>1234.4122007818728</c:v>
                </c:pt>
                <c:pt idx="229">
                  <c:v>1172.1253771651125</c:v>
                </c:pt>
                <c:pt idx="230">
                  <c:v>1112.4190942347063</c:v>
                </c:pt>
                <c:pt idx="231">
                  <c:v>1055.2282348370304</c:v>
                </c:pt>
                <c:pt idx="232">
                  <c:v>1000.4851742635323</c:v>
                </c:pt>
                <c:pt idx="233">
                  <c:v>948.12030927534011</c:v>
                </c:pt>
                <c:pt idx="234">
                  <c:v>898.06254419462005</c:v>
                </c:pt>
                <c:pt idx="235">
                  <c:v>850.23973524487917</c:v>
                </c:pt>
                <c:pt idx="236">
                  <c:v>804.57909470876143</c:v>
                </c:pt>
                <c:pt idx="237">
                  <c:v>761.0075565374899</c:v>
                </c:pt>
                <c:pt idx="238">
                  <c:v>719.45210522911736</c:v>
                </c:pt>
                <c:pt idx="239">
                  <c:v>679.84006984999985</c:v>
                </c:pt>
                <c:pt idx="240">
                  <c:v>642.0993852704687</c:v>
                </c:pt>
                <c:pt idx="241">
                  <c:v>606.15882255550252</c:v>
                </c:pt>
                <c:pt idx="242">
                  <c:v>571.9481905326935</c:v>
                </c:pt>
                <c:pt idx="243">
                  <c:v>539.39851054350049</c:v>
                </c:pt>
                <c:pt idx="244">
                  <c:v>508.44216635041766</c:v>
                </c:pt>
                <c:pt idx="245">
                  <c:v>479.01303112465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2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6985079028679401"/>
          <c:y val="0.29765623168945426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G$2:$G$247</c:f>
              <c:numCache>
                <c:formatCode>General</c:formatCode>
                <c:ptCount val="246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3</c:v>
                </c:pt>
                <c:pt idx="52">
                  <c:v>151</c:v>
                </c:pt>
                <c:pt idx="53">
                  <c:v>163</c:v>
                </c:pt>
                <c:pt idx="54">
                  <c:v>171</c:v>
                </c:pt>
                <c:pt idx="55">
                  <c:v>194</c:v>
                </c:pt>
                <c:pt idx="56">
                  <c:v>216</c:v>
                </c:pt>
                <c:pt idx="57">
                  <c:v>210</c:v>
                </c:pt>
                <c:pt idx="58">
                  <c:v>234</c:v>
                </c:pt>
                <c:pt idx="59">
                  <c:v>238</c:v>
                </c:pt>
                <c:pt idx="60">
                  <c:v>266</c:v>
                </c:pt>
                <c:pt idx="61">
                  <c:v>310</c:v>
                </c:pt>
                <c:pt idx="62">
                  <c:v>317</c:v>
                </c:pt>
                <c:pt idx="63">
                  <c:v>344</c:v>
                </c:pt>
                <c:pt idx="64">
                  <c:v>344</c:v>
                </c:pt>
                <c:pt idx="65">
                  <c:v>383</c:v>
                </c:pt>
                <c:pt idx="66">
                  <c:v>388</c:v>
                </c:pt>
                <c:pt idx="67">
                  <c:v>423</c:v>
                </c:pt>
                <c:pt idx="68">
                  <c:v>470</c:v>
                </c:pt>
                <c:pt idx="69">
                  <c:v>486</c:v>
                </c:pt>
                <c:pt idx="70">
                  <c:v>510</c:v>
                </c:pt>
                <c:pt idx="71">
                  <c:v>518</c:v>
                </c:pt>
                <c:pt idx="72">
                  <c:v>526</c:v>
                </c:pt>
                <c:pt idx="73">
                  <c:v>560</c:v>
                </c:pt>
                <c:pt idx="74">
                  <c:v>600</c:v>
                </c:pt>
                <c:pt idx="75">
                  <c:v>642</c:v>
                </c:pt>
                <c:pt idx="76">
                  <c:v>652</c:v>
                </c:pt>
                <c:pt idx="77">
                  <c:v>692</c:v>
                </c:pt>
                <c:pt idx="78">
                  <c:v>717</c:v>
                </c:pt>
                <c:pt idx="79">
                  <c:v>745</c:v>
                </c:pt>
                <c:pt idx="80">
                  <c:v>753</c:v>
                </c:pt>
                <c:pt idx="81">
                  <c:v>782</c:v>
                </c:pt>
                <c:pt idx="82">
                  <c:v>817</c:v>
                </c:pt>
                <c:pt idx="83">
                  <c:v>859</c:v>
                </c:pt>
                <c:pt idx="84">
                  <c:v>870</c:v>
                </c:pt>
                <c:pt idx="85">
                  <c:v>895</c:v>
                </c:pt>
                <c:pt idx="86">
                  <c:v>912</c:v>
                </c:pt>
                <c:pt idx="87">
                  <c:v>928</c:v>
                </c:pt>
                <c:pt idx="88">
                  <c:v>940</c:v>
                </c:pt>
                <c:pt idx="89">
                  <c:v>985</c:v>
                </c:pt>
                <c:pt idx="90">
                  <c:v>989</c:v>
                </c:pt>
                <c:pt idx="91">
                  <c:v>982</c:v>
                </c:pt>
                <c:pt idx="92">
                  <c:v>974</c:v>
                </c:pt>
                <c:pt idx="93">
                  <c:v>968</c:v>
                </c:pt>
                <c:pt idx="94">
                  <c:v>938</c:v>
                </c:pt>
                <c:pt idx="95">
                  <c:v>965</c:v>
                </c:pt>
                <c:pt idx="96">
                  <c:v>987</c:v>
                </c:pt>
                <c:pt idx="97">
                  <c:v>994</c:v>
                </c:pt>
                <c:pt idx="98">
                  <c:v>993</c:v>
                </c:pt>
                <c:pt idx="99">
                  <c:v>1003</c:v>
                </c:pt>
                <c:pt idx="100">
                  <c:v>974</c:v>
                </c:pt>
                <c:pt idx="101">
                  <c:v>954</c:v>
                </c:pt>
                <c:pt idx="102">
                  <c:v>970</c:v>
                </c:pt>
                <c:pt idx="103">
                  <c:v>989</c:v>
                </c:pt>
                <c:pt idx="104">
                  <c:v>963</c:v>
                </c:pt>
                <c:pt idx="105">
                  <c:v>929</c:v>
                </c:pt>
                <c:pt idx="106">
                  <c:v>878</c:v>
                </c:pt>
                <c:pt idx="107">
                  <c:v>859</c:v>
                </c:pt>
                <c:pt idx="108">
                  <c:v>802</c:v>
                </c:pt>
                <c:pt idx="109">
                  <c:v>808</c:v>
                </c:pt>
                <c:pt idx="110">
                  <c:v>866</c:v>
                </c:pt>
                <c:pt idx="111">
                  <c:v>855</c:v>
                </c:pt>
                <c:pt idx="112">
                  <c:v>810</c:v>
                </c:pt>
                <c:pt idx="113">
                  <c:v>765</c:v>
                </c:pt>
                <c:pt idx="114">
                  <c:v>697</c:v>
                </c:pt>
                <c:pt idx="115">
                  <c:v>683</c:v>
                </c:pt>
                <c:pt idx="116">
                  <c:v>699</c:v>
                </c:pt>
                <c:pt idx="117">
                  <c:v>727</c:v>
                </c:pt>
                <c:pt idx="118">
                  <c:v>707</c:v>
                </c:pt>
                <c:pt idx="119">
                  <c:v>690</c:v>
                </c:pt>
                <c:pt idx="120">
                  <c:v>644</c:v>
                </c:pt>
                <c:pt idx="121">
                  <c:v>616</c:v>
                </c:pt>
                <c:pt idx="122">
                  <c:v>595</c:v>
                </c:pt>
                <c:pt idx="123">
                  <c:v>586</c:v>
                </c:pt>
                <c:pt idx="124">
                  <c:v>575</c:v>
                </c:pt>
                <c:pt idx="125">
                  <c:v>561</c:v>
                </c:pt>
                <c:pt idx="126">
                  <c:v>533</c:v>
                </c:pt>
                <c:pt idx="127">
                  <c:v>536</c:v>
                </c:pt>
                <c:pt idx="128">
                  <c:v>504</c:v>
                </c:pt>
                <c:pt idx="129">
                  <c:v>487</c:v>
                </c:pt>
                <c:pt idx="130">
                  <c:v>473</c:v>
                </c:pt>
                <c:pt idx="131">
                  <c:v>491</c:v>
                </c:pt>
                <c:pt idx="132">
                  <c:v>459</c:v>
                </c:pt>
                <c:pt idx="133">
                  <c:v>416</c:v>
                </c:pt>
                <c:pt idx="134">
                  <c:v>386</c:v>
                </c:pt>
                <c:pt idx="135">
                  <c:v>357</c:v>
                </c:pt>
                <c:pt idx="136">
                  <c:v>338</c:v>
                </c:pt>
                <c:pt idx="137">
                  <c:v>333</c:v>
                </c:pt>
                <c:pt idx="138">
                  <c:v>335</c:v>
                </c:pt>
                <c:pt idx="139">
                  <c:v>307</c:v>
                </c:pt>
                <c:pt idx="140">
                  <c:v>295</c:v>
                </c:pt>
                <c:pt idx="141">
                  <c:v>272</c:v>
                </c:pt>
                <c:pt idx="142">
                  <c:v>261</c:v>
                </c:pt>
                <c:pt idx="143">
                  <c:v>275</c:v>
                </c:pt>
                <c:pt idx="144">
                  <c:v>269</c:v>
                </c:pt>
                <c:pt idx="145">
                  <c:v>268</c:v>
                </c:pt>
                <c:pt idx="146">
                  <c:v>271</c:v>
                </c:pt>
                <c:pt idx="147">
                  <c:v>258</c:v>
                </c:pt>
                <c:pt idx="148">
                  <c:v>270</c:v>
                </c:pt>
                <c:pt idx="149">
                  <c:v>277</c:v>
                </c:pt>
                <c:pt idx="150">
                  <c:v>276</c:v>
                </c:pt>
                <c:pt idx="151">
                  <c:v>299</c:v>
                </c:pt>
                <c:pt idx="152">
                  <c:v>314</c:v>
                </c:pt>
                <c:pt idx="153">
                  <c:v>324</c:v>
                </c:pt>
                <c:pt idx="154">
                  <c:v>333</c:v>
                </c:pt>
                <c:pt idx="155">
                  <c:v>304</c:v>
                </c:pt>
                <c:pt idx="156">
                  <c:v>307</c:v>
                </c:pt>
                <c:pt idx="157">
                  <c:v>330</c:v>
                </c:pt>
                <c:pt idx="158">
                  <c:v>347</c:v>
                </c:pt>
                <c:pt idx="159">
                  <c:v>356</c:v>
                </c:pt>
                <c:pt idx="160">
                  <c:v>359</c:v>
                </c:pt>
                <c:pt idx="161">
                  <c:v>382</c:v>
                </c:pt>
                <c:pt idx="162">
                  <c:v>380</c:v>
                </c:pt>
                <c:pt idx="163">
                  <c:v>392</c:v>
                </c:pt>
                <c:pt idx="164">
                  <c:v>375</c:v>
                </c:pt>
                <c:pt idx="165">
                  <c:v>377</c:v>
                </c:pt>
                <c:pt idx="166">
                  <c:v>399</c:v>
                </c:pt>
                <c:pt idx="167">
                  <c:v>416</c:v>
                </c:pt>
                <c:pt idx="168">
                  <c:v>398</c:v>
                </c:pt>
                <c:pt idx="169">
                  <c:v>380</c:v>
                </c:pt>
                <c:pt idx="170">
                  <c:v>361</c:v>
                </c:pt>
                <c:pt idx="171">
                  <c:v>352</c:v>
                </c:pt>
                <c:pt idx="172">
                  <c:v>365</c:v>
                </c:pt>
                <c:pt idx="173">
                  <c:v>381</c:v>
                </c:pt>
                <c:pt idx="174">
                  <c:v>365</c:v>
                </c:pt>
                <c:pt idx="175">
                  <c:v>374</c:v>
                </c:pt>
                <c:pt idx="176">
                  <c:v>370</c:v>
                </c:pt>
                <c:pt idx="177">
                  <c:v>330</c:v>
                </c:pt>
                <c:pt idx="178">
                  <c:v>318</c:v>
                </c:pt>
                <c:pt idx="179">
                  <c:v>327</c:v>
                </c:pt>
                <c:pt idx="180">
                  <c:v>321</c:v>
                </c:pt>
                <c:pt idx="181">
                  <c:v>309</c:v>
                </c:pt>
                <c:pt idx="182">
                  <c:v>285</c:v>
                </c:pt>
                <c:pt idx="183">
                  <c:v>258</c:v>
                </c:pt>
                <c:pt idx="184">
                  <c:v>242</c:v>
                </c:pt>
                <c:pt idx="185">
                  <c:v>239</c:v>
                </c:pt>
                <c:pt idx="186">
                  <c:v>239</c:v>
                </c:pt>
                <c:pt idx="187">
                  <c:v>235</c:v>
                </c:pt>
                <c:pt idx="188">
                  <c:v>219</c:v>
                </c:pt>
                <c:pt idx="189">
                  <c:v>204</c:v>
                </c:pt>
                <c:pt idx="190">
                  <c:v>197</c:v>
                </c:pt>
                <c:pt idx="191">
                  <c:v>188</c:v>
                </c:pt>
                <c:pt idx="192">
                  <c:v>179</c:v>
                </c:pt>
                <c:pt idx="193">
                  <c:v>196</c:v>
                </c:pt>
                <c:pt idx="194">
                  <c:v>200</c:v>
                </c:pt>
                <c:pt idx="195">
                  <c:v>196</c:v>
                </c:pt>
                <c:pt idx="196">
                  <c:v>194</c:v>
                </c:pt>
                <c:pt idx="197">
                  <c:v>200</c:v>
                </c:pt>
                <c:pt idx="198">
                  <c:v>189</c:v>
                </c:pt>
                <c:pt idx="199">
                  <c:v>178</c:v>
                </c:pt>
                <c:pt idx="200">
                  <c:v>191</c:v>
                </c:pt>
                <c:pt idx="201">
                  <c:v>215</c:v>
                </c:pt>
                <c:pt idx="202">
                  <c:v>203</c:v>
                </c:pt>
                <c:pt idx="203">
                  <c:v>198</c:v>
                </c:pt>
                <c:pt idx="204">
                  <c:v>204</c:v>
                </c:pt>
                <c:pt idx="205">
                  <c:v>198</c:v>
                </c:pt>
                <c:pt idx="206">
                  <c:v>192</c:v>
                </c:pt>
                <c:pt idx="207">
                  <c:v>184</c:v>
                </c:pt>
                <c:pt idx="208">
                  <c:v>197</c:v>
                </c:pt>
                <c:pt idx="209">
                  <c:v>193</c:v>
                </c:pt>
                <c:pt idx="210">
                  <c:v>180</c:v>
                </c:pt>
                <c:pt idx="211">
                  <c:v>171</c:v>
                </c:pt>
                <c:pt idx="212">
                  <c:v>166</c:v>
                </c:pt>
                <c:pt idx="213">
                  <c:v>156</c:v>
                </c:pt>
                <c:pt idx="214">
                  <c:v>159</c:v>
                </c:pt>
                <c:pt idx="215">
                  <c:v>159</c:v>
                </c:pt>
                <c:pt idx="216">
                  <c:v>159</c:v>
                </c:pt>
                <c:pt idx="217">
                  <c:v>160</c:v>
                </c:pt>
                <c:pt idx="218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47</c:f>
              <c:numCache>
                <c:formatCode>General</c:formatCode>
                <c:ptCount val="246"/>
                <c:pt idx="0">
                  <c:v>2.1499938108275587</c:v>
                </c:pt>
                <c:pt idx="1">
                  <c:v>2.1489942988240536</c:v>
                </c:pt>
                <c:pt idx="2">
                  <c:v>2.1563756917328081</c:v>
                </c:pt>
                <c:pt idx="3">
                  <c:v>2.2220662509694518</c:v>
                </c:pt>
                <c:pt idx="4">
                  <c:v>2.3490076857795001</c:v>
                </c:pt>
                <c:pt idx="5">
                  <c:v>2.5056648229639888</c:v>
                </c:pt>
                <c:pt idx="6">
                  <c:v>2.6689272128599746</c:v>
                </c:pt>
                <c:pt idx="7">
                  <c:v>2.7597022170835119</c:v>
                </c:pt>
                <c:pt idx="8">
                  <c:v>2.7634894993383736</c:v>
                </c:pt>
                <c:pt idx="9">
                  <c:v>2.7844883124857778</c:v>
                </c:pt>
                <c:pt idx="10">
                  <c:v>0.20709584228404368</c:v>
                </c:pt>
                <c:pt idx="11">
                  <c:v>0.55286125342098946</c:v>
                </c:pt>
                <c:pt idx="12">
                  <c:v>0.92492594653068261</c:v>
                </c:pt>
                <c:pt idx="13">
                  <c:v>1.3428704468709667</c:v>
                </c:pt>
                <c:pt idx="14">
                  <c:v>1.8215746154633203</c:v>
                </c:pt>
                <c:pt idx="15">
                  <c:v>2.474726350772896</c:v>
                </c:pt>
                <c:pt idx="16">
                  <c:v>3.2262958173138752</c:v>
                </c:pt>
                <c:pt idx="17">
                  <c:v>4.0752726566685098</c:v>
                </c:pt>
                <c:pt idx="18">
                  <c:v>4.964831800229037</c:v>
                </c:pt>
                <c:pt idx="19">
                  <c:v>5.9796446817234861</c:v>
                </c:pt>
                <c:pt idx="20">
                  <c:v>6.9865220280905787</c:v>
                </c:pt>
                <c:pt idx="21">
                  <c:v>8.1285182926197859</c:v>
                </c:pt>
                <c:pt idx="22">
                  <c:v>9.1804172488551359</c:v>
                </c:pt>
                <c:pt idx="23">
                  <c:v>10.418830696230001</c:v>
                </c:pt>
                <c:pt idx="24">
                  <c:v>11.78672416277089</c:v>
                </c:pt>
                <c:pt idx="25">
                  <c:v>13.30313543074859</c:v>
                </c:pt>
                <c:pt idx="26">
                  <c:v>14.947197294775943</c:v>
                </c:pt>
                <c:pt idx="27">
                  <c:v>16.977580490328688</c:v>
                </c:pt>
                <c:pt idx="28">
                  <c:v>18.948832729355825</c:v>
                </c:pt>
                <c:pt idx="29">
                  <c:v>21.035005821232751</c:v>
                </c:pt>
                <c:pt idx="30">
                  <c:v>22.79008070672829</c:v>
                </c:pt>
                <c:pt idx="31">
                  <c:v>24.283364648339056</c:v>
                </c:pt>
                <c:pt idx="32">
                  <c:v>26.458338629574964</c:v>
                </c:pt>
                <c:pt idx="33">
                  <c:v>28.646989117777778</c:v>
                </c:pt>
                <c:pt idx="34">
                  <c:v>31.489840034288211</c:v>
                </c:pt>
                <c:pt idx="35">
                  <c:v>35.917569727058805</c:v>
                </c:pt>
                <c:pt idx="36">
                  <c:v>40.173210690576973</c:v>
                </c:pt>
                <c:pt idx="37">
                  <c:v>44.917326484515712</c:v>
                </c:pt>
                <c:pt idx="38">
                  <c:v>50.222859935349035</c:v>
                </c:pt>
                <c:pt idx="39">
                  <c:v>55.047065351332463</c:v>
                </c:pt>
                <c:pt idx="40">
                  <c:v>61.622436562134602</c:v>
                </c:pt>
                <c:pt idx="41">
                  <c:v>68.056789909912723</c:v>
                </c:pt>
                <c:pt idx="42">
                  <c:v>73.64408921424284</c:v>
                </c:pt>
                <c:pt idx="43">
                  <c:v>80.619933129478653</c:v>
                </c:pt>
                <c:pt idx="44">
                  <c:v>88.07899661871042</c:v>
                </c:pt>
                <c:pt idx="45">
                  <c:v>95.99289157549795</c:v>
                </c:pt>
                <c:pt idx="46">
                  <c:v>105.14804756840543</c:v>
                </c:pt>
                <c:pt idx="47">
                  <c:v>113.32509751051417</c:v>
                </c:pt>
                <c:pt idx="48">
                  <c:v>120.30662358525673</c:v>
                </c:pt>
                <c:pt idx="49">
                  <c:v>126.35260730869122</c:v>
                </c:pt>
                <c:pt idx="50">
                  <c:v>132.55700194229081</c:v>
                </c:pt>
                <c:pt idx="51">
                  <c:v>140.21559433107447</c:v>
                </c:pt>
                <c:pt idx="52">
                  <c:v>147.70800294563014</c:v>
                </c:pt>
                <c:pt idx="53">
                  <c:v>155.93072542142394</c:v>
                </c:pt>
                <c:pt idx="54">
                  <c:v>163.49652986130411</c:v>
                </c:pt>
                <c:pt idx="55">
                  <c:v>171.65081493185716</c:v>
                </c:pt>
                <c:pt idx="56">
                  <c:v>184.77767711514741</c:v>
                </c:pt>
                <c:pt idx="57">
                  <c:v>199.22673147933284</c:v>
                </c:pt>
                <c:pt idx="58">
                  <c:v>214.28313321665527</c:v>
                </c:pt>
                <c:pt idx="59">
                  <c:v>231.28268874017573</c:v>
                </c:pt>
                <c:pt idx="60">
                  <c:v>250.2023933218222</c:v>
                </c:pt>
                <c:pt idx="61">
                  <c:v>273.55373933241361</c:v>
                </c:pt>
                <c:pt idx="62">
                  <c:v>294.60134620266598</c:v>
                </c:pt>
                <c:pt idx="63">
                  <c:v>314.45124331739214</c:v>
                </c:pt>
                <c:pt idx="64">
                  <c:v>332.5686204660027</c:v>
                </c:pt>
                <c:pt idx="65">
                  <c:v>353.67984779847114</c:v>
                </c:pt>
                <c:pt idx="66">
                  <c:v>374.76843161274172</c:v>
                </c:pt>
                <c:pt idx="67">
                  <c:v>395.45393621540632</c:v>
                </c:pt>
                <c:pt idx="68">
                  <c:v>416.22658895811321</c:v>
                </c:pt>
                <c:pt idx="69">
                  <c:v>439.49680756860073</c:v>
                </c:pt>
                <c:pt idx="70">
                  <c:v>463.80650615405699</c:v>
                </c:pt>
                <c:pt idx="71">
                  <c:v>491.69529048648286</c:v>
                </c:pt>
                <c:pt idx="72">
                  <c:v>514.62782032996608</c:v>
                </c:pt>
                <c:pt idx="73">
                  <c:v>542.76377346828315</c:v>
                </c:pt>
                <c:pt idx="74">
                  <c:v>571.70415232551045</c:v>
                </c:pt>
                <c:pt idx="75">
                  <c:v>598.1235515957876</c:v>
                </c:pt>
                <c:pt idx="76">
                  <c:v>627.01965865816146</c:v>
                </c:pt>
                <c:pt idx="77">
                  <c:v>662.56637295883513</c:v>
                </c:pt>
                <c:pt idx="78">
                  <c:v>696.77991904977682</c:v>
                </c:pt>
                <c:pt idx="79">
                  <c:v>736.21371531368322</c:v>
                </c:pt>
                <c:pt idx="80">
                  <c:v>772.53255554566829</c:v>
                </c:pt>
                <c:pt idx="81">
                  <c:v>805.78382447843671</c:v>
                </c:pt>
                <c:pt idx="82">
                  <c:v>841.9893416438631</c:v>
                </c:pt>
                <c:pt idx="83">
                  <c:v>882.02158240072845</c:v>
                </c:pt>
                <c:pt idx="84">
                  <c:v>910.91403168216937</c:v>
                </c:pt>
                <c:pt idx="85">
                  <c:v>942.67992886788625</c:v>
                </c:pt>
                <c:pt idx="86">
                  <c:v>970.43554108544595</c:v>
                </c:pt>
                <c:pt idx="87">
                  <c:v>997.78119122566216</c:v>
                </c:pt>
                <c:pt idx="88">
                  <c:v>1019.29769693552</c:v>
                </c:pt>
                <c:pt idx="89">
                  <c:v>1038.1767751657321</c:v>
                </c:pt>
                <c:pt idx="90">
                  <c:v>1051.0202288728483</c:v>
                </c:pt>
                <c:pt idx="91">
                  <c:v>1060.944426202873</c:v>
                </c:pt>
                <c:pt idx="92">
                  <c:v>1064.9020645552769</c:v>
                </c:pt>
                <c:pt idx="93">
                  <c:v>1065.6035332043584</c:v>
                </c:pt>
                <c:pt idx="94">
                  <c:v>1063.2218293980754</c:v>
                </c:pt>
                <c:pt idx="95">
                  <c:v>1057.9437089167161</c:v>
                </c:pt>
                <c:pt idx="96">
                  <c:v>1049.9571750530026</c:v>
                </c:pt>
                <c:pt idx="97">
                  <c:v>1039.4801235543416</c:v>
                </c:pt>
                <c:pt idx="98">
                  <c:v>1026.8050483601664</c:v>
                </c:pt>
                <c:pt idx="99">
                  <c:v>1011.1816261834061</c:v>
                </c:pt>
                <c:pt idx="100">
                  <c:v>993.97312723803236</c:v>
                </c:pt>
                <c:pt idx="101">
                  <c:v>975.42218856806994</c:v>
                </c:pt>
                <c:pt idx="102">
                  <c:v>955.74204142953727</c:v>
                </c:pt>
                <c:pt idx="103">
                  <c:v>935.12138406555948</c:v>
                </c:pt>
                <c:pt idx="104">
                  <c:v>913.72821583057805</c:v>
                </c:pt>
                <c:pt idx="105">
                  <c:v>891.72266867301209</c:v>
                </c:pt>
                <c:pt idx="106">
                  <c:v>870.19056168921099</c:v>
                </c:pt>
                <c:pt idx="107">
                  <c:v>848.2783968043841</c:v>
                </c:pt>
                <c:pt idx="108">
                  <c:v>826.09522655285684</c:v>
                </c:pt>
                <c:pt idx="109">
                  <c:v>803.7345113132003</c:v>
                </c:pt>
                <c:pt idx="110">
                  <c:v>781.27745039129161</c:v>
                </c:pt>
                <c:pt idx="111">
                  <c:v>758.79312829906974</c:v>
                </c:pt>
                <c:pt idx="112">
                  <c:v>736.34273933010911</c:v>
                </c:pt>
                <c:pt idx="113">
                  <c:v>714.76896532338731</c:v>
                </c:pt>
                <c:pt idx="114">
                  <c:v>693.28816508878606</c:v>
                </c:pt>
                <c:pt idx="115">
                  <c:v>671.94442658932269</c:v>
                </c:pt>
                <c:pt idx="116">
                  <c:v>650.77884492202975</c:v>
                </c:pt>
                <c:pt idx="117">
                  <c:v>629.82785589255423</c:v>
                </c:pt>
                <c:pt idx="118">
                  <c:v>609.12231583988466</c:v>
                </c:pt>
                <c:pt idx="119">
                  <c:v>588.68959493554769</c:v>
                </c:pt>
                <c:pt idx="120">
                  <c:v>569.19261238671868</c:v>
                </c:pt>
                <c:pt idx="121">
                  <c:v>549.73777576364239</c:v>
                </c:pt>
                <c:pt idx="122">
                  <c:v>539.97567465497059</c:v>
                </c:pt>
                <c:pt idx="123">
                  <c:v>530.37703878424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C$2:$C$247</c:f>
              <c:numCache>
                <c:formatCode>General</c:formatCode>
                <c:ptCount val="246"/>
                <c:pt idx="122">
                  <c:v>528.68723493153016</c:v>
                </c:pt>
                <c:pt idx="123">
                  <c:v>510.76123180217076</c:v>
                </c:pt>
                <c:pt idx="124">
                  <c:v>493.13862185009407</c:v>
                </c:pt>
                <c:pt idx="125">
                  <c:v>475.83581271881076</c:v>
                </c:pt>
                <c:pt idx="126">
                  <c:v>458.86700243556271</c:v>
                </c:pt>
                <c:pt idx="127">
                  <c:v>442.24450407417879</c:v>
                </c:pt>
                <c:pt idx="128">
                  <c:v>425.97891754974574</c:v>
                </c:pt>
                <c:pt idx="129">
                  <c:v>410.07925837795977</c:v>
                </c:pt>
                <c:pt idx="130">
                  <c:v>394.55301338654499</c:v>
                </c:pt>
                <c:pt idx="131">
                  <c:v>379.40666655287822</c:v>
                </c:pt>
                <c:pt idx="132">
                  <c:v>364.93808191183194</c:v>
                </c:pt>
                <c:pt idx="133">
                  <c:v>351.34880160323445</c:v>
                </c:pt>
                <c:pt idx="134">
                  <c:v>338.73424300405537</c:v>
                </c:pt>
                <c:pt idx="135">
                  <c:v>327.12505919583458</c:v>
                </c:pt>
                <c:pt idx="136">
                  <c:v>316.5160355765961</c:v>
                </c:pt>
                <c:pt idx="137">
                  <c:v>306.88232024177535</c:v>
                </c:pt>
                <c:pt idx="138">
                  <c:v>298.18796656555605</c:v>
                </c:pt>
                <c:pt idx="139">
                  <c:v>290.38750420492227</c:v>
                </c:pt>
                <c:pt idx="140">
                  <c:v>283.42800118808816</c:v>
                </c:pt>
                <c:pt idx="141">
                  <c:v>277.24938634024738</c:v>
                </c:pt>
                <c:pt idx="142">
                  <c:v>271.7901239807095</c:v>
                </c:pt>
                <c:pt idx="143">
                  <c:v>266.9864776554283</c:v>
                </c:pt>
                <c:pt idx="144">
                  <c:v>262.77569759856368</c:v>
                </c:pt>
                <c:pt idx="145">
                  <c:v>259.09802764894289</c:v>
                </c:pt>
                <c:pt idx="146">
                  <c:v>255.89037397781513</c:v>
                </c:pt>
                <c:pt idx="147">
                  <c:v>253.07832081749055</c:v>
                </c:pt>
                <c:pt idx="148">
                  <c:v>250.58794500798203</c:v>
                </c:pt>
                <c:pt idx="149">
                  <c:v>248.35525493209704</c:v>
                </c:pt>
                <c:pt idx="150">
                  <c:v>246.32640922790668</c:v>
                </c:pt>
                <c:pt idx="151">
                  <c:v>244.45579039767614</c:v>
                </c:pt>
                <c:pt idx="152">
                  <c:v>242.70466204899364</c:v>
                </c:pt>
                <c:pt idx="153">
                  <c:v>241.03963019050207</c:v>
                </c:pt>
                <c:pt idx="154">
                  <c:v>239.42992936243337</c:v>
                </c:pt>
                <c:pt idx="155">
                  <c:v>237.84872641330509</c:v>
                </c:pt>
                <c:pt idx="156">
                  <c:v>236.27417159153617</c:v>
                </c:pt>
                <c:pt idx="157">
                  <c:v>234.68829421478918</c:v>
                </c:pt>
                <c:pt idx="158">
                  <c:v>233.07733613393631</c:v>
                </c:pt>
                <c:pt idx="159">
                  <c:v>231.43082296500614</c:v>
                </c:pt>
                <c:pt idx="160">
                  <c:v>229.740841373367</c:v>
                </c:pt>
                <c:pt idx="161">
                  <c:v>228.00198730637351</c:v>
                </c:pt>
                <c:pt idx="162">
                  <c:v>226.21086589821053</c:v>
                </c:pt>
                <c:pt idx="163">
                  <c:v>224.3657132193872</c:v>
                </c:pt>
                <c:pt idx="164">
                  <c:v>222.46585039200747</c:v>
                </c:pt>
                <c:pt idx="165">
                  <c:v>220.51162023222957</c:v>
                </c:pt>
                <c:pt idx="166">
                  <c:v>218.5045210233634</c:v>
                </c:pt>
                <c:pt idx="167">
                  <c:v>216.44687437049799</c:v>
                </c:pt>
                <c:pt idx="168">
                  <c:v>214.34142802903091</c:v>
                </c:pt>
                <c:pt idx="169">
                  <c:v>212.19086839279981</c:v>
                </c:pt>
                <c:pt idx="170">
                  <c:v>209.99792514232476</c:v>
                </c:pt>
                <c:pt idx="171">
                  <c:v>207.76523812347349</c:v>
                </c:pt>
                <c:pt idx="172">
                  <c:v>205.49582505782104</c:v>
                </c:pt>
                <c:pt idx="173">
                  <c:v>203.1929449311821</c:v>
                </c:pt>
                <c:pt idx="174">
                  <c:v>200.85983847160605</c:v>
                </c:pt>
                <c:pt idx="175">
                  <c:v>198.49975900670702</c:v>
                </c:pt>
                <c:pt idx="176">
                  <c:v>196.11586997172472</c:v>
                </c:pt>
                <c:pt idx="177">
                  <c:v>193.71120054450736</c:v>
                </c:pt>
                <c:pt idx="178">
                  <c:v>191.28864240225806</c:v>
                </c:pt>
                <c:pt idx="179">
                  <c:v>188.85094904085727</c:v>
                </c:pt>
                <c:pt idx="180">
                  <c:v>186.40062455208681</c:v>
                </c:pt>
                <c:pt idx="181">
                  <c:v>183.94005855634845</c:v>
                </c:pt>
                <c:pt idx="182">
                  <c:v>181.47153727936433</c:v>
                </c:pt>
                <c:pt idx="183">
                  <c:v>178.99722519194009</c:v>
                </c:pt>
                <c:pt idx="184">
                  <c:v>176.51915635967802</c:v>
                </c:pt>
                <c:pt idx="185">
                  <c:v>174.03924331729141</c:v>
                </c:pt>
                <c:pt idx="186">
                  <c:v>171.55928130426344</c:v>
                </c:pt>
                <c:pt idx="187">
                  <c:v>169.08096049802893</c:v>
                </c:pt>
                <c:pt idx="188">
                  <c:v>166.60587541552067</c:v>
                </c:pt>
                <c:pt idx="189">
                  <c:v>164.13553440757821</c:v>
                </c:pt>
                <c:pt idx="190">
                  <c:v>161.67136038011978</c:v>
                </c:pt>
                <c:pt idx="191">
                  <c:v>159.21469498777702</c:v>
                </c:pt>
                <c:pt idx="192">
                  <c:v>156.76680446569839</c:v>
                </c:pt>
                <c:pt idx="193">
                  <c:v>154.32888203641255</c:v>
                </c:pt>
                <c:pt idx="194">
                  <c:v>151.90205344974768</c:v>
                </c:pt>
                <c:pt idx="195">
                  <c:v>149.48738153548419</c:v>
                </c:pt>
                <c:pt idx="196">
                  <c:v>147.08586909882914</c:v>
                </c:pt>
                <c:pt idx="197">
                  <c:v>144.69846243091231</c:v>
                </c:pt>
                <c:pt idx="198">
                  <c:v>142.32605276361016</c:v>
                </c:pt>
                <c:pt idx="199">
                  <c:v>139.96947999233157</c:v>
                </c:pt>
                <c:pt idx="200">
                  <c:v>137.62953362748434</c:v>
                </c:pt>
                <c:pt idx="201">
                  <c:v>135.30695698733814</c:v>
                </c:pt>
                <c:pt idx="202">
                  <c:v>133.00244927057668</c:v>
                </c:pt>
                <c:pt idx="203">
                  <c:v>130.71666664484982</c:v>
                </c:pt>
                <c:pt idx="204">
                  <c:v>128.45022437397435</c:v>
                </c:pt>
                <c:pt idx="205">
                  <c:v>126.2036990288086</c:v>
                </c:pt>
                <c:pt idx="206">
                  <c:v>123.97762965167067</c:v>
                </c:pt>
                <c:pt idx="207">
                  <c:v>121.77251954753065</c:v>
                </c:pt>
                <c:pt idx="208">
                  <c:v>119.5888375478154</c:v>
                </c:pt>
                <c:pt idx="209">
                  <c:v>117.42701880607014</c:v>
                </c:pt>
                <c:pt idx="210">
                  <c:v>115.28746566755714</c:v>
                </c:pt>
                <c:pt idx="211">
                  <c:v>113.17054950346844</c:v>
                </c:pt>
                <c:pt idx="212">
                  <c:v>111.07661173128852</c:v>
                </c:pt>
                <c:pt idx="213">
                  <c:v>109.0059647903759</c:v>
                </c:pt>
                <c:pt idx="214">
                  <c:v>106.95889309991038</c:v>
                </c:pt>
                <c:pt idx="215">
                  <c:v>104.93565397898483</c:v>
                </c:pt>
                <c:pt idx="216">
                  <c:v>102.93647854914023</c:v>
                </c:pt>
                <c:pt idx="217">
                  <c:v>100.96157261598883</c:v>
                </c:pt>
                <c:pt idx="218">
                  <c:v>99.011117536405862</c:v>
                </c:pt>
                <c:pt idx="219">
                  <c:v>97.085271049537454</c:v>
                </c:pt>
                <c:pt idx="220">
                  <c:v>95.184168083931866</c:v>
                </c:pt>
                <c:pt idx="221">
                  <c:v>93.307921549441673</c:v>
                </c:pt>
                <c:pt idx="222">
                  <c:v>91.456623106759167</c:v>
                </c:pt>
                <c:pt idx="223">
                  <c:v>89.630343925969839</c:v>
                </c:pt>
                <c:pt idx="224">
                  <c:v>87.829135430495995</c:v>
                </c:pt>
                <c:pt idx="225">
                  <c:v>86.053030024333395</c:v>
                </c:pt>
                <c:pt idx="226">
                  <c:v>84.302041808940885</c:v>
                </c:pt>
                <c:pt idx="227">
                  <c:v>82.576167286672913</c:v>
                </c:pt>
                <c:pt idx="228">
                  <c:v>80.875386057286548</c:v>
                </c:pt>
                <c:pt idx="229">
                  <c:v>79.199661500440172</c:v>
                </c:pt>
                <c:pt idx="230">
                  <c:v>77.548941450952597</c:v>
                </c:pt>
                <c:pt idx="231">
                  <c:v>75.923158861731608</c:v>
                </c:pt>
                <c:pt idx="232">
                  <c:v>74.322232453533729</c:v>
                </c:pt>
                <c:pt idx="233">
                  <c:v>72.746067354292052</c:v>
                </c:pt>
                <c:pt idx="234">
                  <c:v>71.19455572891242</c:v>
                </c:pt>
                <c:pt idx="235">
                  <c:v>69.667577395871817</c:v>
                </c:pt>
                <c:pt idx="236">
                  <c:v>68.165000433188396</c:v>
                </c:pt>
                <c:pt idx="237">
                  <c:v>66.68668177186801</c:v>
                </c:pt>
                <c:pt idx="238">
                  <c:v>65.232467776764622</c:v>
                </c:pt>
                <c:pt idx="239">
                  <c:v>63.802194813195648</c:v>
                </c:pt>
                <c:pt idx="240">
                  <c:v>62.395689802927251</c:v>
                </c:pt>
                <c:pt idx="241">
                  <c:v>61.012770766633736</c:v>
                </c:pt>
                <c:pt idx="242">
                  <c:v>59.653247352840779</c:v>
                </c:pt>
                <c:pt idx="243">
                  <c:v>58.316921353284044</c:v>
                </c:pt>
                <c:pt idx="244">
                  <c:v>57.003587204589863</c:v>
                </c:pt>
                <c:pt idx="245">
                  <c:v>55.7130324761853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F$2:$F$247</c:f>
              <c:numCache>
                <c:formatCode>General</c:formatCode>
                <c:ptCount val="246"/>
                <c:pt idx="128">
                  <c:v>441.20743624266163</c:v>
                </c:pt>
                <c:pt idx="129">
                  <c:v>434.42536900509617</c:v>
                </c:pt>
                <c:pt idx="130">
                  <c:v>427.64330176753066</c:v>
                </c:pt>
                <c:pt idx="131">
                  <c:v>426.89017542993395</c:v>
                </c:pt>
                <c:pt idx="132">
                  <c:v>427.44031779362325</c:v>
                </c:pt>
                <c:pt idx="133">
                  <c:v>429.26635049598991</c:v>
                </c:pt>
                <c:pt idx="134">
                  <c:v>432.32799265349001</c:v>
                </c:pt>
                <c:pt idx="135">
                  <c:v>436.58046521998375</c:v>
                </c:pt>
                <c:pt idx="136">
                  <c:v>441.9720546180605</c:v>
                </c:pt>
                <c:pt idx="137">
                  <c:v>448.44878337391492</c:v>
                </c:pt>
                <c:pt idx="138">
                  <c:v>455.957179744212</c:v>
                </c:pt>
                <c:pt idx="139">
                  <c:v>464.43298071494854</c:v>
                </c:pt>
                <c:pt idx="140">
                  <c:v>473.7869791796993</c:v>
                </c:pt>
                <c:pt idx="141">
                  <c:v>483.92478432393301</c:v>
                </c:pt>
                <c:pt idx="142">
                  <c:v>494.76212564354176</c:v>
                </c:pt>
                <c:pt idx="143">
                  <c:v>506.22460144310185</c:v>
                </c:pt>
                <c:pt idx="144">
                  <c:v>518.2443656067851</c:v>
                </c:pt>
                <c:pt idx="145">
                  <c:v>530.75814273116157</c:v>
                </c:pt>
                <c:pt idx="146">
                  <c:v>543.70498658637757</c:v>
                </c:pt>
                <c:pt idx="147">
                  <c:v>557.02203052963227</c:v>
                </c:pt>
                <c:pt idx="148">
                  <c:v>570.64702534518892</c:v>
                </c:pt>
                <c:pt idx="149">
                  <c:v>584.52039644146316</c:v>
                </c:pt>
                <c:pt idx="150">
                  <c:v>598.5835807548209</c:v>
                </c:pt>
                <c:pt idx="151">
                  <c:v>612.77999947262629</c:v>
                </c:pt>
                <c:pt idx="152">
                  <c:v>627.05387506926331</c:v>
                </c:pt>
                <c:pt idx="153">
                  <c:v>641.34943243443183</c:v>
                </c:pt>
                <c:pt idx="154">
                  <c:v>655.60981923205361</c:v>
                </c:pt>
                <c:pt idx="155">
                  <c:v>669.77711655166684</c:v>
                </c:pt>
                <c:pt idx="156">
                  <c:v>683.79269962683441</c:v>
                </c:pt>
                <c:pt idx="157">
                  <c:v>697.5970239468744</c:v>
                </c:pt>
                <c:pt idx="158">
                  <c:v>711.13015176387808</c:v>
                </c:pt>
                <c:pt idx="159">
                  <c:v>724.33258632967977</c:v>
                </c:pt>
                <c:pt idx="160">
                  <c:v>737.14529155827415</c:v>
                </c:pt>
                <c:pt idx="161">
                  <c:v>749.51250219791734</c:v>
                </c:pt>
                <c:pt idx="162">
                  <c:v>761.38071604399909</c:v>
                </c:pt>
                <c:pt idx="163">
                  <c:v>772.69863744252723</c:v>
                </c:pt>
                <c:pt idx="164">
                  <c:v>783.4170044297905</c:v>
                </c:pt>
                <c:pt idx="165">
                  <c:v>793.48967152622618</c:v>
                </c:pt>
                <c:pt idx="166">
                  <c:v>802.87371138495303</c:v>
                </c:pt>
                <c:pt idx="167">
                  <c:v>811.52935046525022</c:v>
                </c:pt>
                <c:pt idx="168">
                  <c:v>819.42037088804966</c:v>
                </c:pt>
                <c:pt idx="169">
                  <c:v>826.51428911277844</c:v>
                </c:pt>
                <c:pt idx="170">
                  <c:v>832.78252907213584</c:v>
                </c:pt>
                <c:pt idx="171">
                  <c:v>838.20062728810649</c:v>
                </c:pt>
                <c:pt idx="172">
                  <c:v>842.74838441052407</c:v>
                </c:pt>
                <c:pt idx="173">
                  <c:v>846.40982489011276</c:v>
                </c:pt>
                <c:pt idx="174">
                  <c:v>849.17352900136905</c:v>
                </c:pt>
                <c:pt idx="175">
                  <c:v>851.03265453528604</c:v>
                </c:pt>
                <c:pt idx="176">
                  <c:v>851.98480109961497</c:v>
                </c:pt>
                <c:pt idx="177">
                  <c:v>852.03194069626284</c:v>
                </c:pt>
                <c:pt idx="178">
                  <c:v>851.1804064862165</c:v>
                </c:pt>
                <c:pt idx="179">
                  <c:v>849.44083518284447</c:v>
                </c:pt>
                <c:pt idx="180">
                  <c:v>846.82806427643754</c:v>
                </c:pt>
                <c:pt idx="181">
                  <c:v>843.36098113347202</c:v>
                </c:pt>
                <c:pt idx="182">
                  <c:v>839.06232830350064</c:v>
                </c:pt>
                <c:pt idx="183">
                  <c:v>833.95844316828686</c:v>
                </c:pt>
                <c:pt idx="184">
                  <c:v>828.07899030269175</c:v>
                </c:pt>
                <c:pt idx="185">
                  <c:v>817.36294872452947</c:v>
                </c:pt>
                <c:pt idx="186">
                  <c:v>805.72425662237811</c:v>
                </c:pt>
                <c:pt idx="187">
                  <c:v>793.22019766729829</c:v>
                </c:pt>
                <c:pt idx="188">
                  <c:v>779.91046275974236</c:v>
                </c:pt>
                <c:pt idx="189">
                  <c:v>765.85665573992628</c:v>
                </c:pt>
                <c:pt idx="190">
                  <c:v>751.12179777398501</c:v>
                </c:pt>
                <c:pt idx="191">
                  <c:v>735.76983904149313</c:v>
                </c:pt>
                <c:pt idx="192">
                  <c:v>719.86518777662093</c:v>
                </c:pt>
                <c:pt idx="193">
                  <c:v>703.47225108791235</c:v>
                </c:pt>
                <c:pt idx="194">
                  <c:v>686.65500633790407</c:v>
                </c:pt>
                <c:pt idx="195">
                  <c:v>669.47659935361082</c:v>
                </c:pt>
                <c:pt idx="196">
                  <c:v>651.99897043451665</c:v>
                </c:pt>
                <c:pt idx="197">
                  <c:v>634.28251133410924</c:v>
                </c:pt>
                <c:pt idx="198">
                  <c:v>616.38575335156224</c:v>
                </c:pt>
                <c:pt idx="199">
                  <c:v>598.36509156252976</c:v>
                </c:pt>
                <c:pt idx="200">
                  <c:v>580.27454599311204</c:v>
                </c:pt>
                <c:pt idx="201">
                  <c:v>562.16556420712186</c:v>
                </c:pt>
                <c:pt idx="202">
                  <c:v>544.08685869654857</c:v>
                </c:pt>
                <c:pt idx="203">
                  <c:v>526.08427545446148</c:v>
                </c:pt>
                <c:pt idx="204">
                  <c:v>508.20069964204708</c:v>
                </c:pt>
                <c:pt idx="205">
                  <c:v>490.47599115882082</c:v>
                </c:pt>
                <c:pt idx="206">
                  <c:v>472.94694998069474</c:v>
                </c:pt>
                <c:pt idx="207">
                  <c:v>455.64730914473409</c:v>
                </c:pt>
                <c:pt idx="208">
                  <c:v>438.60775297121307</c:v>
                </c:pt>
                <c:pt idx="209">
                  <c:v>421.85595639752995</c:v>
                </c:pt>
                <c:pt idx="210">
                  <c:v>405.41664656700385</c:v>
                </c:pt>
                <c:pt idx="211">
                  <c:v>389.31168235655042</c:v>
                </c:pt>
                <c:pt idx="212">
                  <c:v>373.56014902988005</c:v>
                </c:pt>
                <c:pt idx="213">
                  <c:v>358.17846564390226</c:v>
                </c:pt>
                <c:pt idx="214">
                  <c:v>343.18050309428929</c:v>
                </c:pt>
                <c:pt idx="215">
                  <c:v>328.5777105674166</c:v>
                </c:pt>
                <c:pt idx="216">
                  <c:v>314.3792484377293</c:v>
                </c:pt>
                <c:pt idx="217">
                  <c:v>300.59212569792641</c:v>
                </c:pt>
                <c:pt idx="218">
                  <c:v>287.22134020169034</c:v>
                </c:pt>
                <c:pt idx="219">
                  <c:v>274.27002005141571</c:v>
                </c:pt>
                <c:pt idx="220">
                  <c:v>261.73956476395159</c:v>
                </c:pt>
                <c:pt idx="221">
                  <c:v>249.62978499939794</c:v>
                </c:pt>
                <c:pt idx="222">
                  <c:v>237.93903973322003</c:v>
                </c:pt>
                <c:pt idx="223">
                  <c:v>226.66436998222039</c:v>
                </c:pt>
                <c:pt idx="224">
                  <c:v>215.80162828425463</c:v>
                </c:pt>
                <c:pt idx="225">
                  <c:v>205.34560327700638</c:v>
                </c:pt>
                <c:pt idx="226">
                  <c:v>195.29013888343417</c:v>
                </c:pt>
                <c:pt idx="227">
                  <c:v>185.62824769353043</c:v>
                </c:pt>
                <c:pt idx="228">
                  <c:v>176.35221827850921</c:v>
                </c:pt>
                <c:pt idx="229">
                  <c:v>167.45371621624798</c:v>
                </c:pt>
                <c:pt idx="230">
                  <c:v>158.92387874925589</c:v>
                </c:pt>
                <c:pt idx="231">
                  <c:v>150.7534030251451</c:v>
                </c:pt>
                <c:pt idx="232">
                  <c:v>142.93262795391979</c:v>
                </c:pt>
                <c:pt idx="233">
                  <c:v>135.45160978618532</c:v>
                </c:pt>
                <c:pt idx="234">
                  <c:v>128.30019155777021</c:v>
                </c:pt>
                <c:pt idx="235">
                  <c:v>121.46806656965498</c:v>
                </c:pt>
                <c:pt idx="236">
                  <c:v>114.94483612729412</c:v>
                </c:pt>
                <c:pt idx="237">
                  <c:v>108.72006177279285</c:v>
                </c:pt>
                <c:pt idx="238">
                  <c:v>102.78331226954401</c:v>
                </c:pt>
                <c:pt idx="239">
                  <c:v>97.124205607110312</c:v>
                </c:pt>
                <c:pt idx="240">
                  <c:v>91.732446322218138</c:v>
                </c:pt>
                <c:pt idx="241">
                  <c:v>86.597858413132684</c:v>
                </c:pt>
                <c:pt idx="242">
                  <c:v>81.710414136325625</c:v>
                </c:pt>
                <c:pt idx="243">
                  <c:v>77.060258972018289</c:v>
                </c:pt>
                <c:pt idx="244">
                  <c:v>72.637733040416705</c:v>
                </c:pt>
                <c:pt idx="245">
                  <c:v>68.433389243592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8325151767194545"/>
          <c:y val="0.40781247491311057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G$2:$G$247</c:f>
              <c:numCache>
                <c:formatCode>General</c:formatCode>
                <c:ptCount val="246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3</c:v>
                </c:pt>
                <c:pt idx="14">
                  <c:v>3</c:v>
                </c:pt>
                <c:pt idx="15">
                  <c:v>0</c:v>
                </c:pt>
                <c:pt idx="16">
                  <c:v>3</c:v>
                </c:pt>
                <c:pt idx="17">
                  <c:v>5</c:v>
                </c:pt>
                <c:pt idx="18">
                  <c:v>2</c:v>
                </c:pt>
                <c:pt idx="19">
                  <c:v>4</c:v>
                </c:pt>
                <c:pt idx="20">
                  <c:v>2</c:v>
                </c:pt>
                <c:pt idx="21">
                  <c:v>2</c:v>
                </c:pt>
                <c:pt idx="22">
                  <c:v>3</c:v>
                </c:pt>
                <c:pt idx="23">
                  <c:v>0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5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4</c:v>
                </c:pt>
                <c:pt idx="33">
                  <c:v>4</c:v>
                </c:pt>
                <c:pt idx="34">
                  <c:v>3</c:v>
                </c:pt>
                <c:pt idx="35">
                  <c:v>5</c:v>
                </c:pt>
                <c:pt idx="36">
                  <c:v>3</c:v>
                </c:pt>
                <c:pt idx="37">
                  <c:v>4</c:v>
                </c:pt>
                <c:pt idx="38">
                  <c:v>3</c:v>
                </c:pt>
                <c:pt idx="39">
                  <c:v>4</c:v>
                </c:pt>
                <c:pt idx="40">
                  <c:v>5</c:v>
                </c:pt>
                <c:pt idx="41">
                  <c:v>7</c:v>
                </c:pt>
                <c:pt idx="42">
                  <c:v>6</c:v>
                </c:pt>
                <c:pt idx="43">
                  <c:v>6</c:v>
                </c:pt>
                <c:pt idx="44">
                  <c:v>10</c:v>
                </c:pt>
                <c:pt idx="45">
                  <c:v>9</c:v>
                </c:pt>
                <c:pt idx="46">
                  <c:v>11</c:v>
                </c:pt>
                <c:pt idx="47">
                  <c:v>12</c:v>
                </c:pt>
                <c:pt idx="48">
                  <c:v>10</c:v>
                </c:pt>
                <c:pt idx="49">
                  <c:v>7</c:v>
                </c:pt>
                <c:pt idx="50">
                  <c:v>10</c:v>
                </c:pt>
                <c:pt idx="51">
                  <c:v>14</c:v>
                </c:pt>
                <c:pt idx="52">
                  <c:v>14</c:v>
                </c:pt>
                <c:pt idx="53">
                  <c:v>21</c:v>
                </c:pt>
                <c:pt idx="54">
                  <c:v>20</c:v>
                </c:pt>
                <c:pt idx="55">
                  <c:v>16</c:v>
                </c:pt>
                <c:pt idx="56">
                  <c:v>21</c:v>
                </c:pt>
                <c:pt idx="57">
                  <c:v>26</c:v>
                </c:pt>
                <c:pt idx="58">
                  <c:v>26</c:v>
                </c:pt>
                <c:pt idx="59">
                  <c:v>25</c:v>
                </c:pt>
                <c:pt idx="60">
                  <c:v>31</c:v>
                </c:pt>
                <c:pt idx="61">
                  <c:v>31</c:v>
                </c:pt>
                <c:pt idx="62">
                  <c:v>37</c:v>
                </c:pt>
                <c:pt idx="63">
                  <c:v>45</c:v>
                </c:pt>
                <c:pt idx="64">
                  <c:v>45</c:v>
                </c:pt>
                <c:pt idx="65">
                  <c:v>57</c:v>
                </c:pt>
                <c:pt idx="66">
                  <c:v>52</c:v>
                </c:pt>
                <c:pt idx="67">
                  <c:v>41</c:v>
                </c:pt>
                <c:pt idx="68">
                  <c:v>49</c:v>
                </c:pt>
                <c:pt idx="69">
                  <c:v>64</c:v>
                </c:pt>
                <c:pt idx="70">
                  <c:v>75</c:v>
                </c:pt>
                <c:pt idx="71">
                  <c:v>71</c:v>
                </c:pt>
                <c:pt idx="72">
                  <c:v>67</c:v>
                </c:pt>
                <c:pt idx="73">
                  <c:v>74</c:v>
                </c:pt>
                <c:pt idx="74">
                  <c:v>64</c:v>
                </c:pt>
                <c:pt idx="75">
                  <c:v>93</c:v>
                </c:pt>
                <c:pt idx="76">
                  <c:v>70</c:v>
                </c:pt>
                <c:pt idx="77">
                  <c:v>82</c:v>
                </c:pt>
                <c:pt idx="78">
                  <c:v>121</c:v>
                </c:pt>
                <c:pt idx="79">
                  <c:v>114</c:v>
                </c:pt>
                <c:pt idx="80">
                  <c:v>96</c:v>
                </c:pt>
                <c:pt idx="81">
                  <c:v>114</c:v>
                </c:pt>
                <c:pt idx="82">
                  <c:v>113</c:v>
                </c:pt>
                <c:pt idx="83">
                  <c:v>115</c:v>
                </c:pt>
                <c:pt idx="84">
                  <c:v>94</c:v>
                </c:pt>
                <c:pt idx="85">
                  <c:v>115</c:v>
                </c:pt>
                <c:pt idx="86">
                  <c:v>119</c:v>
                </c:pt>
                <c:pt idx="87">
                  <c:v>96</c:v>
                </c:pt>
                <c:pt idx="88">
                  <c:v>119</c:v>
                </c:pt>
                <c:pt idx="89">
                  <c:v>108</c:v>
                </c:pt>
                <c:pt idx="90">
                  <c:v>121</c:v>
                </c:pt>
                <c:pt idx="91">
                  <c:v>140</c:v>
                </c:pt>
                <c:pt idx="92">
                  <c:v>126</c:v>
                </c:pt>
                <c:pt idx="93">
                  <c:v>123</c:v>
                </c:pt>
                <c:pt idx="94">
                  <c:v>109</c:v>
                </c:pt>
                <c:pt idx="95">
                  <c:v>110</c:v>
                </c:pt>
                <c:pt idx="96">
                  <c:v>127</c:v>
                </c:pt>
                <c:pt idx="97">
                  <c:v>112</c:v>
                </c:pt>
                <c:pt idx="98">
                  <c:v>113</c:v>
                </c:pt>
                <c:pt idx="99">
                  <c:v>114</c:v>
                </c:pt>
                <c:pt idx="100">
                  <c:v>121</c:v>
                </c:pt>
                <c:pt idx="101">
                  <c:v>100</c:v>
                </c:pt>
                <c:pt idx="102">
                  <c:v>125</c:v>
                </c:pt>
                <c:pt idx="103">
                  <c:v>115</c:v>
                </c:pt>
                <c:pt idx="104">
                  <c:v>114</c:v>
                </c:pt>
                <c:pt idx="105">
                  <c:v>124</c:v>
                </c:pt>
                <c:pt idx="106">
                  <c:v>97</c:v>
                </c:pt>
                <c:pt idx="107">
                  <c:v>93</c:v>
                </c:pt>
                <c:pt idx="108">
                  <c:v>104</c:v>
                </c:pt>
                <c:pt idx="109">
                  <c:v>70</c:v>
                </c:pt>
                <c:pt idx="110">
                  <c:v>80</c:v>
                </c:pt>
                <c:pt idx="111">
                  <c:v>82</c:v>
                </c:pt>
                <c:pt idx="112">
                  <c:v>85</c:v>
                </c:pt>
                <c:pt idx="113">
                  <c:v>60</c:v>
                </c:pt>
                <c:pt idx="114">
                  <c:v>80</c:v>
                </c:pt>
                <c:pt idx="115">
                  <c:v>68</c:v>
                </c:pt>
                <c:pt idx="116">
                  <c:v>85</c:v>
                </c:pt>
                <c:pt idx="117">
                  <c:v>51</c:v>
                </c:pt>
                <c:pt idx="118">
                  <c:v>73</c:v>
                </c:pt>
                <c:pt idx="119">
                  <c:v>75</c:v>
                </c:pt>
                <c:pt idx="120">
                  <c:v>58</c:v>
                </c:pt>
                <c:pt idx="121">
                  <c:v>55</c:v>
                </c:pt>
                <c:pt idx="122">
                  <c:v>46</c:v>
                </c:pt>
                <c:pt idx="123">
                  <c:v>52</c:v>
                </c:pt>
                <c:pt idx="124">
                  <c:v>60</c:v>
                </c:pt>
                <c:pt idx="125">
                  <c:v>60</c:v>
                </c:pt>
                <c:pt idx="126">
                  <c:v>40</c:v>
                </c:pt>
                <c:pt idx="127">
                  <c:v>58</c:v>
                </c:pt>
                <c:pt idx="128">
                  <c:v>46</c:v>
                </c:pt>
                <c:pt idx="129">
                  <c:v>43</c:v>
                </c:pt>
                <c:pt idx="130">
                  <c:v>23</c:v>
                </c:pt>
                <c:pt idx="131">
                  <c:v>43</c:v>
                </c:pt>
                <c:pt idx="132">
                  <c:v>38</c:v>
                </c:pt>
                <c:pt idx="133">
                  <c:v>42</c:v>
                </c:pt>
                <c:pt idx="134">
                  <c:v>33</c:v>
                </c:pt>
                <c:pt idx="135">
                  <c:v>33</c:v>
                </c:pt>
                <c:pt idx="136">
                  <c:v>25</c:v>
                </c:pt>
                <c:pt idx="137">
                  <c:v>29</c:v>
                </c:pt>
                <c:pt idx="138">
                  <c:v>28</c:v>
                </c:pt>
                <c:pt idx="139">
                  <c:v>25</c:v>
                </c:pt>
                <c:pt idx="140">
                  <c:v>27</c:v>
                </c:pt>
                <c:pt idx="141">
                  <c:v>19</c:v>
                </c:pt>
                <c:pt idx="142">
                  <c:v>21</c:v>
                </c:pt>
                <c:pt idx="143">
                  <c:v>22</c:v>
                </c:pt>
                <c:pt idx="144">
                  <c:v>18</c:v>
                </c:pt>
                <c:pt idx="145">
                  <c:v>22</c:v>
                </c:pt>
                <c:pt idx="146">
                  <c:v>15</c:v>
                </c:pt>
                <c:pt idx="147">
                  <c:v>22</c:v>
                </c:pt>
                <c:pt idx="148">
                  <c:v>27</c:v>
                </c:pt>
                <c:pt idx="149">
                  <c:v>23</c:v>
                </c:pt>
                <c:pt idx="150">
                  <c:v>27</c:v>
                </c:pt>
                <c:pt idx="151">
                  <c:v>29</c:v>
                </c:pt>
                <c:pt idx="152">
                  <c:v>34</c:v>
                </c:pt>
                <c:pt idx="153">
                  <c:v>44</c:v>
                </c:pt>
                <c:pt idx="154">
                  <c:v>40</c:v>
                </c:pt>
                <c:pt idx="155">
                  <c:v>40</c:v>
                </c:pt>
                <c:pt idx="156">
                  <c:v>54</c:v>
                </c:pt>
                <c:pt idx="157">
                  <c:v>48</c:v>
                </c:pt>
                <c:pt idx="158">
                  <c:v>46</c:v>
                </c:pt>
                <c:pt idx="159">
                  <c:v>60</c:v>
                </c:pt>
                <c:pt idx="160">
                  <c:v>53</c:v>
                </c:pt>
                <c:pt idx="161">
                  <c:v>45</c:v>
                </c:pt>
                <c:pt idx="162">
                  <c:v>57</c:v>
                </c:pt>
                <c:pt idx="163">
                  <c:v>58</c:v>
                </c:pt>
                <c:pt idx="164">
                  <c:v>64</c:v>
                </c:pt>
                <c:pt idx="165">
                  <c:v>56</c:v>
                </c:pt>
                <c:pt idx="166">
                  <c:v>48</c:v>
                </c:pt>
                <c:pt idx="167">
                  <c:v>47</c:v>
                </c:pt>
                <c:pt idx="168">
                  <c:v>53</c:v>
                </c:pt>
                <c:pt idx="169">
                  <c:v>56</c:v>
                </c:pt>
                <c:pt idx="170">
                  <c:v>59</c:v>
                </c:pt>
                <c:pt idx="171">
                  <c:v>55</c:v>
                </c:pt>
                <c:pt idx="172">
                  <c:v>49</c:v>
                </c:pt>
                <c:pt idx="173">
                  <c:v>57</c:v>
                </c:pt>
                <c:pt idx="174">
                  <c:v>59</c:v>
                </c:pt>
                <c:pt idx="175">
                  <c:v>40</c:v>
                </c:pt>
                <c:pt idx="176">
                  <c:v>56</c:v>
                </c:pt>
                <c:pt idx="177">
                  <c:v>45</c:v>
                </c:pt>
                <c:pt idx="178">
                  <c:v>43</c:v>
                </c:pt>
                <c:pt idx="179">
                  <c:v>48</c:v>
                </c:pt>
                <c:pt idx="180">
                  <c:v>55</c:v>
                </c:pt>
                <c:pt idx="181">
                  <c:v>39</c:v>
                </c:pt>
                <c:pt idx="182">
                  <c:v>45</c:v>
                </c:pt>
                <c:pt idx="183">
                  <c:v>44</c:v>
                </c:pt>
                <c:pt idx="184">
                  <c:v>31</c:v>
                </c:pt>
                <c:pt idx="185">
                  <c:v>32</c:v>
                </c:pt>
                <c:pt idx="186">
                  <c:v>37</c:v>
                </c:pt>
                <c:pt idx="187">
                  <c:v>37</c:v>
                </c:pt>
                <c:pt idx="188">
                  <c:v>42</c:v>
                </c:pt>
                <c:pt idx="189">
                  <c:v>31</c:v>
                </c:pt>
                <c:pt idx="190">
                  <c:v>25</c:v>
                </c:pt>
                <c:pt idx="191">
                  <c:v>18</c:v>
                </c:pt>
                <c:pt idx="192">
                  <c:v>26</c:v>
                </c:pt>
                <c:pt idx="193">
                  <c:v>26</c:v>
                </c:pt>
                <c:pt idx="194">
                  <c:v>36</c:v>
                </c:pt>
                <c:pt idx="195">
                  <c:v>25</c:v>
                </c:pt>
                <c:pt idx="196">
                  <c:v>29</c:v>
                </c:pt>
                <c:pt idx="197">
                  <c:v>30</c:v>
                </c:pt>
                <c:pt idx="198">
                  <c:v>21</c:v>
                </c:pt>
                <c:pt idx="199">
                  <c:v>21</c:v>
                </c:pt>
                <c:pt idx="200">
                  <c:v>23</c:v>
                </c:pt>
                <c:pt idx="201">
                  <c:v>38</c:v>
                </c:pt>
                <c:pt idx="202">
                  <c:v>19</c:v>
                </c:pt>
                <c:pt idx="203">
                  <c:v>29</c:v>
                </c:pt>
                <c:pt idx="204">
                  <c:v>28</c:v>
                </c:pt>
                <c:pt idx="205">
                  <c:v>25</c:v>
                </c:pt>
                <c:pt idx="206">
                  <c:v>27</c:v>
                </c:pt>
                <c:pt idx="207">
                  <c:v>20</c:v>
                </c:pt>
                <c:pt idx="208">
                  <c:v>30</c:v>
                </c:pt>
                <c:pt idx="209">
                  <c:v>27</c:v>
                </c:pt>
                <c:pt idx="210">
                  <c:v>23</c:v>
                </c:pt>
                <c:pt idx="211">
                  <c:v>16</c:v>
                </c:pt>
                <c:pt idx="212">
                  <c:v>12</c:v>
                </c:pt>
                <c:pt idx="213">
                  <c:v>21</c:v>
                </c:pt>
                <c:pt idx="214">
                  <c:v>17</c:v>
                </c:pt>
                <c:pt idx="215">
                  <c:v>24</c:v>
                </c:pt>
                <c:pt idx="216">
                  <c:v>26</c:v>
                </c:pt>
                <c:pt idx="217">
                  <c:v>26</c:v>
                </c:pt>
                <c:pt idx="21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47</c:f>
              <c:numCache>
                <c:formatCode>General</c:formatCode>
                <c:ptCount val="246"/>
                <c:pt idx="0">
                  <c:v>1.9372366163835515</c:v>
                </c:pt>
                <c:pt idx="1">
                  <c:v>1.962009674777268</c:v>
                </c:pt>
                <c:pt idx="2">
                  <c:v>1.9865439199824408</c:v>
                </c:pt>
                <c:pt idx="3">
                  <c:v>2.0107169826038618</c:v>
                </c:pt>
                <c:pt idx="4">
                  <c:v>2.0344483652010359</c:v>
                </c:pt>
                <c:pt idx="5">
                  <c:v>2.0576122220865787</c:v>
                </c:pt>
                <c:pt idx="6">
                  <c:v>2.0801436530265551</c:v>
                </c:pt>
                <c:pt idx="7">
                  <c:v>2.1020235101387068</c:v>
                </c:pt>
                <c:pt idx="8">
                  <c:v>2.1236260751306868</c:v>
                </c:pt>
                <c:pt idx="9">
                  <c:v>2.1454202108359204</c:v>
                </c:pt>
                <c:pt idx="10">
                  <c:v>2.167739735944707</c:v>
                </c:pt>
                <c:pt idx="11">
                  <c:v>2.1910644387378473</c:v>
                </c:pt>
                <c:pt idx="12">
                  <c:v>2.2160887007713503</c:v>
                </c:pt>
                <c:pt idx="13">
                  <c:v>2.2435205147431319</c:v>
                </c:pt>
                <c:pt idx="14">
                  <c:v>2.2740683416325247</c:v>
                </c:pt>
                <c:pt idx="15">
                  <c:v>2.3085404340008608</c:v>
                </c:pt>
                <c:pt idx="16">
                  <c:v>2.3476669856169767</c:v>
                </c:pt>
                <c:pt idx="17">
                  <c:v>2.3922426416175173</c:v>
                </c:pt>
                <c:pt idx="18">
                  <c:v>2.4429934881391331</c:v>
                </c:pt>
                <c:pt idx="19">
                  <c:v>2.5007509606571903</c:v>
                </c:pt>
                <c:pt idx="20">
                  <c:v>2.566059410159081</c:v>
                </c:pt>
                <c:pt idx="21">
                  <c:v>2.6395271431765117</c:v>
                </c:pt>
                <c:pt idx="22">
                  <c:v>2.7217662725536949</c:v>
                </c:pt>
                <c:pt idx="23">
                  <c:v>2.813312062396049</c:v>
                </c:pt>
                <c:pt idx="24">
                  <c:v>2.9146059775725632</c:v>
                </c:pt>
                <c:pt idx="25">
                  <c:v>3.0259976097717187</c:v>
                </c:pt>
                <c:pt idx="26">
                  <c:v>3.1479025056024454</c:v>
                </c:pt>
                <c:pt idx="27">
                  <c:v>3.2807863692273811</c:v>
                </c:pt>
                <c:pt idx="28">
                  <c:v>3.4250463160053282</c:v>
                </c:pt>
                <c:pt idx="29">
                  <c:v>3.5810583471497663</c:v>
                </c:pt>
                <c:pt idx="30">
                  <c:v>3.7491938048697433</c:v>
                </c:pt>
                <c:pt idx="31">
                  <c:v>3.9298324547401631</c:v>
                </c:pt>
                <c:pt idx="32">
                  <c:v>4.1233978260423223</c:v>
                </c:pt>
                <c:pt idx="33">
                  <c:v>4.3303259964497611</c:v>
                </c:pt>
                <c:pt idx="34">
                  <c:v>4.551074454243615</c:v>
                </c:pt>
                <c:pt idx="35">
                  <c:v>4.7861431629541613</c:v>
                </c:pt>
                <c:pt idx="36">
                  <c:v>5.0360439551223424</c:v>
                </c:pt>
                <c:pt idx="37">
                  <c:v>5.3013667477259965</c:v>
                </c:pt>
                <c:pt idx="38">
                  <c:v>5.5881068355507786</c:v>
                </c:pt>
                <c:pt idx="39">
                  <c:v>5.9040388170292353</c:v>
                </c:pt>
                <c:pt idx="40">
                  <c:v>6.2549501369601179</c:v>
                </c:pt>
                <c:pt idx="41">
                  <c:v>6.6466307806365634</c:v>
                </c:pt>
                <c:pt idx="42">
                  <c:v>7.0849122992235349</c:v>
                </c:pt>
                <c:pt idx="43">
                  <c:v>7.573750344534206</c:v>
                </c:pt>
                <c:pt idx="44">
                  <c:v>8.117038445177549</c:v>
                </c:pt>
                <c:pt idx="45">
                  <c:v>8.7200846374315635</c:v>
                </c:pt>
                <c:pt idx="46">
                  <c:v>9.3870746644108323</c:v>
                </c:pt>
                <c:pt idx="47">
                  <c:v>10.123396510322824</c:v>
                </c:pt>
                <c:pt idx="48">
                  <c:v>10.934060392101285</c:v>
                </c:pt>
                <c:pt idx="49">
                  <c:v>11.826676088475061</c:v>
                </c:pt>
                <c:pt idx="50">
                  <c:v>12.806719592954495</c:v>
                </c:pt>
                <c:pt idx="51">
                  <c:v>13.880345445756024</c:v>
                </c:pt>
                <c:pt idx="52">
                  <c:v>15.054635335559155</c:v>
                </c:pt>
                <c:pt idx="53">
                  <c:v>16.337437569564663</c:v>
                </c:pt>
                <c:pt idx="54">
                  <c:v>17.736966560894047</c:v>
                </c:pt>
                <c:pt idx="55">
                  <c:v>19.260885195694605</c:v>
                </c:pt>
                <c:pt idx="56">
                  <c:v>20.918392119613678</c:v>
                </c:pt>
                <c:pt idx="57">
                  <c:v>22.719378141113914</c:v>
                </c:pt>
                <c:pt idx="58">
                  <c:v>24.674646488933391</c:v>
                </c:pt>
                <c:pt idx="59">
                  <c:v>26.795317174120957</c:v>
                </c:pt>
                <c:pt idx="60">
                  <c:v>29.092948107726158</c:v>
                </c:pt>
                <c:pt idx="61">
                  <c:v>31.580319967445842</c:v>
                </c:pt>
                <c:pt idx="62">
                  <c:v>34.230562251810156</c:v>
                </c:pt>
                <c:pt idx="63">
                  <c:v>37.003725763857844</c:v>
                </c:pt>
                <c:pt idx="64">
                  <c:v>39.87519481315443</c:v>
                </c:pt>
                <c:pt idx="65">
                  <c:v>42.82185058503255</c:v>
                </c:pt>
                <c:pt idx="66">
                  <c:v>45.821005977978579</c:v>
                </c:pt>
                <c:pt idx="67">
                  <c:v>48.865598682052777</c:v>
                </c:pt>
                <c:pt idx="68">
                  <c:v>51.951812502467902</c:v>
                </c:pt>
                <c:pt idx="69">
                  <c:v>55.084272906550169</c:v>
                </c:pt>
                <c:pt idx="70">
                  <c:v>58.282907586628497</c:v>
                </c:pt>
                <c:pt idx="71">
                  <c:v>61.554852136504529</c:v>
                </c:pt>
                <c:pt idx="72">
                  <c:v>64.912501842442708</c:v>
                </c:pt>
                <c:pt idx="73">
                  <c:v>68.352463070766746</c:v>
                </c:pt>
                <c:pt idx="74">
                  <c:v>71.884408024962696</c:v>
                </c:pt>
                <c:pt idx="75">
                  <c:v>75.51532511659137</c:v>
                </c:pt>
                <c:pt idx="76">
                  <c:v>79.252010972619189</c:v>
                </c:pt>
                <c:pt idx="77">
                  <c:v>83.094980654219512</c:v>
                </c:pt>
                <c:pt idx="78">
                  <c:v>86.961568686463337</c:v>
                </c:pt>
                <c:pt idx="79">
                  <c:v>90.940183308261766</c:v>
                </c:pt>
                <c:pt idx="80">
                  <c:v>95.038667214489948</c:v>
                </c:pt>
                <c:pt idx="81">
                  <c:v>99.254826046850809</c:v>
                </c:pt>
                <c:pt idx="82">
                  <c:v>103.58461543034495</c:v>
                </c:pt>
                <c:pt idx="83">
                  <c:v>107.90703497366127</c:v>
                </c:pt>
                <c:pt idx="84">
                  <c:v>112.06636131642753</c:v>
                </c:pt>
                <c:pt idx="85">
                  <c:v>115.84150769711196</c:v>
                </c:pt>
                <c:pt idx="86">
                  <c:v>119.25303660678749</c:v>
                </c:pt>
                <c:pt idx="87">
                  <c:v>122.2340241486208</c:v>
                </c:pt>
                <c:pt idx="88">
                  <c:v>124.77865757097628</c:v>
                </c:pt>
                <c:pt idx="89">
                  <c:v>126.89646467340778</c:v>
                </c:pt>
                <c:pt idx="90">
                  <c:v>128.57859268934905</c:v>
                </c:pt>
                <c:pt idx="91">
                  <c:v>129.84920943296137</c:v>
                </c:pt>
                <c:pt idx="92">
                  <c:v>130.58418563616971</c:v>
                </c:pt>
                <c:pt idx="93">
                  <c:v>130.94472312890963</c:v>
                </c:pt>
                <c:pt idx="94">
                  <c:v>130.9130384222033</c:v>
                </c:pt>
                <c:pt idx="95">
                  <c:v>130.52675727328969</c:v>
                </c:pt>
                <c:pt idx="96">
                  <c:v>129.82214561674792</c:v>
                </c:pt>
                <c:pt idx="97">
                  <c:v>128.82409409410198</c:v>
                </c:pt>
                <c:pt idx="98">
                  <c:v>127.5522228837259</c:v>
                </c:pt>
                <c:pt idx="99">
                  <c:v>125.89801425775183</c:v>
                </c:pt>
                <c:pt idx="100">
                  <c:v>124.04244217993367</c:v>
                </c:pt>
                <c:pt idx="101">
                  <c:v>122.0112549762439</c:v>
                </c:pt>
                <c:pt idx="102">
                  <c:v>119.82827962603218</c:v>
                </c:pt>
                <c:pt idx="103">
                  <c:v>117.50779546494719</c:v>
                </c:pt>
                <c:pt idx="104">
                  <c:v>115.06893409684356</c:v>
                </c:pt>
                <c:pt idx="105">
                  <c:v>112.53609421625971</c:v>
                </c:pt>
                <c:pt idx="106">
                  <c:v>110.0407268906646</c:v>
                </c:pt>
                <c:pt idx="107">
                  <c:v>107.47479643456057</c:v>
                </c:pt>
                <c:pt idx="108">
                  <c:v>104.8511759816012</c:v>
                </c:pt>
                <c:pt idx="109">
                  <c:v>102.18353476474206</c:v>
                </c:pt>
                <c:pt idx="110">
                  <c:v>99.482437389093363</c:v>
                </c:pt>
                <c:pt idx="111">
                  <c:v>96.764429581078247</c:v>
                </c:pt>
                <c:pt idx="112">
                  <c:v>94.039584801983793</c:v>
                </c:pt>
                <c:pt idx="113">
                  <c:v>91.413633511277268</c:v>
                </c:pt>
                <c:pt idx="114">
                  <c:v>88.78965559629593</c:v>
                </c:pt>
                <c:pt idx="115">
                  <c:v>86.175413242993898</c:v>
                </c:pt>
                <c:pt idx="116">
                  <c:v>83.577138258696436</c:v>
                </c:pt>
                <c:pt idx="117">
                  <c:v>81.000061798330933</c:v>
                </c:pt>
                <c:pt idx="118">
                  <c:v>78.448600848170955</c:v>
                </c:pt>
                <c:pt idx="119">
                  <c:v>75.926587661677857</c:v>
                </c:pt>
                <c:pt idx="120">
                  <c:v>73.519684088949276</c:v>
                </c:pt>
                <c:pt idx="121">
                  <c:v>71.117975302342785</c:v>
                </c:pt>
                <c:pt idx="122">
                  <c:v>69.907091893790948</c:v>
                </c:pt>
                <c:pt idx="123">
                  <c:v>68.714358829741727</c:v>
                </c:pt>
                <c:pt idx="124">
                  <c:v>67.540931001982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E4-4310-8D88-35AA518529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C$2:$C$247</c:f>
              <c:numCache>
                <c:formatCode>General</c:formatCode>
                <c:ptCount val="246"/>
                <c:pt idx="122">
                  <c:v>68.493026980771077</c:v>
                </c:pt>
                <c:pt idx="123">
                  <c:v>66.271807331615221</c:v>
                </c:pt>
                <c:pt idx="124">
                  <c:v>64.08411988510224</c:v>
                </c:pt>
                <c:pt idx="125">
                  <c:v>61.932149754742348</c:v>
                </c:pt>
                <c:pt idx="126">
                  <c:v>59.817865192707437</c:v>
                </c:pt>
                <c:pt idx="127">
                  <c:v>57.742993065687308</c:v>
                </c:pt>
                <c:pt idx="128">
                  <c:v>55.709064130271528</c:v>
                </c:pt>
                <c:pt idx="129">
                  <c:v>53.717449758519578</c:v>
                </c:pt>
                <c:pt idx="130">
                  <c:v>51.769298147151417</c:v>
                </c:pt>
                <c:pt idx="131">
                  <c:v>49.865621173449981</c:v>
                </c:pt>
                <c:pt idx="132">
                  <c:v>48.028980775569536</c:v>
                </c:pt>
                <c:pt idx="133">
                  <c:v>46.286784633592099</c:v>
                </c:pt>
                <c:pt idx="134">
                  <c:v>44.654267099360723</c:v>
                </c:pt>
                <c:pt idx="135">
                  <c:v>43.142518900489016</c:v>
                </c:pt>
                <c:pt idx="136">
                  <c:v>41.758654724638511</c:v>
                </c:pt>
                <c:pt idx="137">
                  <c:v>40.49839675407636</c:v>
                </c:pt>
                <c:pt idx="138">
                  <c:v>39.355014356544395</c:v>
                </c:pt>
                <c:pt idx="139">
                  <c:v>38.32578657100732</c:v>
                </c:pt>
                <c:pt idx="140">
                  <c:v>37.40121904719323</c:v>
                </c:pt>
                <c:pt idx="141">
                  <c:v>36.574993748606808</c:v>
                </c:pt>
                <c:pt idx="142">
                  <c:v>35.837563367901417</c:v>
                </c:pt>
                <c:pt idx="143">
                  <c:v>35.188661164533386</c:v>
                </c:pt>
                <c:pt idx="144">
                  <c:v>34.617330025979683</c:v>
                </c:pt>
                <c:pt idx="145">
                  <c:v>34.113495257710987</c:v>
                </c:pt>
                <c:pt idx="146">
                  <c:v>33.669466456071007</c:v>
                </c:pt>
                <c:pt idx="147">
                  <c:v>33.279030163956286</c:v>
                </c:pt>
                <c:pt idx="148">
                  <c:v>32.935494484103891</c:v>
                </c:pt>
                <c:pt idx="149">
                  <c:v>32.627959011465819</c:v>
                </c:pt>
                <c:pt idx="150">
                  <c:v>32.350108471032016</c:v>
                </c:pt>
                <c:pt idx="151">
                  <c:v>32.096243271470044</c:v>
                </c:pt>
                <c:pt idx="152">
                  <c:v>31.862836624984471</c:v>
                </c:pt>
                <c:pt idx="153">
                  <c:v>31.645533681062695</c:v>
                </c:pt>
                <c:pt idx="154">
                  <c:v>31.439126614940911</c:v>
                </c:pt>
                <c:pt idx="155">
                  <c:v>31.240983694787872</c:v>
                </c:pt>
                <c:pt idx="156">
                  <c:v>31.048006379008697</c:v>
                </c:pt>
                <c:pt idx="157">
                  <c:v>30.857695164820772</c:v>
                </c:pt>
                <c:pt idx="158">
                  <c:v>30.667555590878464</c:v>
                </c:pt>
                <c:pt idx="159">
                  <c:v>30.475878561150036</c:v>
                </c:pt>
                <c:pt idx="160">
                  <c:v>30.27983572523539</c:v>
                </c:pt>
                <c:pt idx="161">
                  <c:v>30.078074379208847</c:v>
                </c:pt>
                <c:pt idx="162">
                  <c:v>29.870423185654495</c:v>
                </c:pt>
                <c:pt idx="163">
                  <c:v>29.655867290785629</c:v>
                </c:pt>
                <c:pt idx="164">
                  <c:v>29.433758973506475</c:v>
                </c:pt>
                <c:pt idx="165">
                  <c:v>29.203853303860726</c:v>
                </c:pt>
                <c:pt idx="166">
                  <c:v>28.966165970067589</c:v>
                </c:pt>
                <c:pt idx="167">
                  <c:v>28.720867522496487</c:v>
                </c:pt>
                <c:pt idx="168">
                  <c:v>28.468233309115419</c:v>
                </c:pt>
                <c:pt idx="169">
                  <c:v>28.208603938343114</c:v>
                </c:pt>
                <c:pt idx="170">
                  <c:v>27.942341134549899</c:v>
                </c:pt>
                <c:pt idx="171">
                  <c:v>27.669838567029533</c:v>
                </c:pt>
                <c:pt idx="172">
                  <c:v>27.391558871615391</c:v>
                </c:pt>
                <c:pt idx="173">
                  <c:v>27.107954262604423</c:v>
                </c:pt>
                <c:pt idx="174">
                  <c:v>26.819475010939453</c:v>
                </c:pt>
                <c:pt idx="175">
                  <c:v>26.526567608699963</c:v>
                </c:pt>
                <c:pt idx="176">
                  <c:v>26.229681345028027</c:v>
                </c:pt>
                <c:pt idx="177">
                  <c:v>25.92925819845896</c:v>
                </c:pt>
                <c:pt idx="178">
                  <c:v>25.625700404210672</c:v>
                </c:pt>
                <c:pt idx="179">
                  <c:v>25.319404393622797</c:v>
                </c:pt>
                <c:pt idx="180">
                  <c:v>25.010743550836072</c:v>
                </c:pt>
                <c:pt idx="181">
                  <c:v>24.700085434596438</c:v>
                </c:pt>
                <c:pt idx="182">
                  <c:v>24.387772678984106</c:v>
                </c:pt>
                <c:pt idx="183">
                  <c:v>24.074125001248838</c:v>
                </c:pt>
                <c:pt idx="184">
                  <c:v>23.759452856356049</c:v>
                </c:pt>
                <c:pt idx="185">
                  <c:v>23.444040665008558</c:v>
                </c:pt>
                <c:pt idx="186">
                  <c:v>23.128159197034556</c:v>
                </c:pt>
                <c:pt idx="187">
                  <c:v>22.812060561792151</c:v>
                </c:pt>
                <c:pt idx="188">
                  <c:v>22.49598374880555</c:v>
                </c:pt>
                <c:pt idx="189">
                  <c:v>22.180148716286666</c:v>
                </c:pt>
                <c:pt idx="190">
                  <c:v>21.864762642403839</c:v>
                </c:pt>
                <c:pt idx="191">
                  <c:v>21.550026285819467</c:v>
                </c:pt>
                <c:pt idx="192">
                  <c:v>21.236122251406147</c:v>
                </c:pt>
                <c:pt idx="193">
                  <c:v>20.923222258647247</c:v>
                </c:pt>
                <c:pt idx="194">
                  <c:v>20.611487769639112</c:v>
                </c:pt>
                <c:pt idx="195">
                  <c:v>20.301070695178421</c:v>
                </c:pt>
                <c:pt idx="196">
                  <c:v>19.992114001499047</c:v>
                </c:pt>
                <c:pt idx="197">
                  <c:v>19.684752214506318</c:v>
                </c:pt>
                <c:pt idx="198">
                  <c:v>19.379111930422596</c:v>
                </c:pt>
                <c:pt idx="199">
                  <c:v>19.075312173087422</c:v>
                </c:pt>
                <c:pt idx="200">
                  <c:v>18.77346485709247</c:v>
                </c:pt>
                <c:pt idx="201">
                  <c:v>18.473675260038384</c:v>
                </c:pt>
                <c:pt idx="202">
                  <c:v>18.176042349381593</c:v>
                </c:pt>
                <c:pt idx="203">
                  <c:v>17.880659110903068</c:v>
                </c:pt>
                <c:pt idx="204">
                  <c:v>17.587612837309134</c:v>
                </c:pt>
                <c:pt idx="205">
                  <c:v>17.296985424350297</c:v>
                </c:pt>
                <c:pt idx="206">
                  <c:v>17.008853627863957</c:v>
                </c:pt>
                <c:pt idx="207">
                  <c:v>16.723289237836333</c:v>
                </c:pt>
                <c:pt idx="208">
                  <c:v>16.440359319417912</c:v>
                </c:pt>
                <c:pt idx="209">
                  <c:v>16.16012638543766</c:v>
                </c:pt>
                <c:pt idx="210">
                  <c:v>15.882648598721136</c:v>
                </c:pt>
                <c:pt idx="211">
                  <c:v>15.607979912620296</c:v>
                </c:pt>
                <c:pt idx="212">
                  <c:v>15.336170219244774</c:v>
                </c:pt>
                <c:pt idx="213">
                  <c:v>15.067265513779203</c:v>
                </c:pt>
                <c:pt idx="214">
                  <c:v>14.801308001515679</c:v>
                </c:pt>
                <c:pt idx="215">
                  <c:v>14.538336237101355</c:v>
                </c:pt>
                <c:pt idx="216">
                  <c:v>14.278385241769691</c:v>
                </c:pt>
                <c:pt idx="217">
                  <c:v>14.021486622749428</c:v>
                </c:pt>
                <c:pt idx="218">
                  <c:v>13.767668683417863</c:v>
                </c:pt>
                <c:pt idx="219">
                  <c:v>13.516956534001594</c:v>
                </c:pt>
                <c:pt idx="220">
                  <c:v>13.269372212771804</c:v>
                </c:pt>
                <c:pt idx="221">
                  <c:v>13.024934773260464</c:v>
                </c:pt>
                <c:pt idx="222">
                  <c:v>12.783660389256246</c:v>
                </c:pt>
                <c:pt idx="223">
                  <c:v>12.545562455775343</c:v>
                </c:pt>
                <c:pt idx="224">
                  <c:v>12.310651687254325</c:v>
                </c:pt>
                <c:pt idx="225">
                  <c:v>12.078936213622168</c:v>
                </c:pt>
                <c:pt idx="226">
                  <c:v>11.850421674605574</c:v>
                </c:pt>
                <c:pt idx="227">
                  <c:v>11.625111312462735</c:v>
                </c:pt>
                <c:pt idx="228">
                  <c:v>11.403006063254077</c:v>
                </c:pt>
                <c:pt idx="229">
                  <c:v>11.184104646708338</c:v>
                </c:pt>
                <c:pt idx="230">
                  <c:v>10.968403654711407</c:v>
                </c:pt>
                <c:pt idx="231">
                  <c:v>10.755897638425584</c:v>
                </c:pt>
                <c:pt idx="232">
                  <c:v>10.546579194032281</c:v>
                </c:pt>
                <c:pt idx="233">
                  <c:v>10.34043904708172</c:v>
                </c:pt>
                <c:pt idx="234">
                  <c:v>10.137466135425679</c:v>
                </c:pt>
                <c:pt idx="235">
                  <c:v>9.9376476907044644</c:v>
                </c:pt>
                <c:pt idx="236">
                  <c:v>9.7409693183560222</c:v>
                </c:pt>
                <c:pt idx="237">
                  <c:v>9.5474150761131416</c:v>
                </c:pt>
                <c:pt idx="238">
                  <c:v>9.3569675509542236</c:v>
                </c:pt>
                <c:pt idx="239">
                  <c:v>9.1696079344731736</c:v>
                </c:pt>
                <c:pt idx="240">
                  <c:v>8.9853160966353798</c:v>
                </c:pt>
                <c:pt idx="241">
                  <c:v>8.8040706578883032</c:v>
                </c:pt>
                <c:pt idx="242">
                  <c:v>8.6258490595976909</c:v>
                </c:pt>
                <c:pt idx="243">
                  <c:v>8.4506276327830872</c:v>
                </c:pt>
                <c:pt idx="244">
                  <c:v>8.2783816651294355</c:v>
                </c:pt>
                <c:pt idx="245">
                  <c:v>8.1090854662548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E4-4310-8D88-35AA51852975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  <c:pt idx="185">
                  <c:v>44625</c:v>
                </c:pt>
                <c:pt idx="186">
                  <c:v>44626</c:v>
                </c:pt>
                <c:pt idx="187">
                  <c:v>44627</c:v>
                </c:pt>
                <c:pt idx="188">
                  <c:v>44628</c:v>
                </c:pt>
                <c:pt idx="189">
                  <c:v>44629</c:v>
                </c:pt>
                <c:pt idx="190">
                  <c:v>44630</c:v>
                </c:pt>
                <c:pt idx="191">
                  <c:v>44631</c:v>
                </c:pt>
                <c:pt idx="192">
                  <c:v>44632</c:v>
                </c:pt>
                <c:pt idx="193">
                  <c:v>44633</c:v>
                </c:pt>
                <c:pt idx="194">
                  <c:v>44634</c:v>
                </c:pt>
                <c:pt idx="195">
                  <c:v>44635</c:v>
                </c:pt>
                <c:pt idx="196">
                  <c:v>44636</c:v>
                </c:pt>
                <c:pt idx="197">
                  <c:v>44637</c:v>
                </c:pt>
                <c:pt idx="198">
                  <c:v>44638</c:v>
                </c:pt>
                <c:pt idx="199">
                  <c:v>44639</c:v>
                </c:pt>
                <c:pt idx="200">
                  <c:v>44640</c:v>
                </c:pt>
                <c:pt idx="201">
                  <c:v>44641</c:v>
                </c:pt>
                <c:pt idx="202">
                  <c:v>44642</c:v>
                </c:pt>
                <c:pt idx="203">
                  <c:v>44643</c:v>
                </c:pt>
                <c:pt idx="204">
                  <c:v>44644</c:v>
                </c:pt>
                <c:pt idx="205">
                  <c:v>44645</c:v>
                </c:pt>
                <c:pt idx="206">
                  <c:v>44646</c:v>
                </c:pt>
                <c:pt idx="207">
                  <c:v>44647</c:v>
                </c:pt>
                <c:pt idx="208">
                  <c:v>44648</c:v>
                </c:pt>
                <c:pt idx="209">
                  <c:v>44649</c:v>
                </c:pt>
                <c:pt idx="210">
                  <c:v>44650</c:v>
                </c:pt>
                <c:pt idx="211">
                  <c:v>44651</c:v>
                </c:pt>
                <c:pt idx="212">
                  <c:v>44652</c:v>
                </c:pt>
                <c:pt idx="213">
                  <c:v>44653</c:v>
                </c:pt>
                <c:pt idx="214">
                  <c:v>44654</c:v>
                </c:pt>
                <c:pt idx="215">
                  <c:v>44655</c:v>
                </c:pt>
                <c:pt idx="216">
                  <c:v>44656</c:v>
                </c:pt>
                <c:pt idx="217">
                  <c:v>44657</c:v>
                </c:pt>
                <c:pt idx="218">
                  <c:v>44658</c:v>
                </c:pt>
                <c:pt idx="219">
                  <c:v>44659</c:v>
                </c:pt>
                <c:pt idx="220">
                  <c:v>44660</c:v>
                </c:pt>
                <c:pt idx="221">
                  <c:v>44661</c:v>
                </c:pt>
                <c:pt idx="222">
                  <c:v>44662</c:v>
                </c:pt>
                <c:pt idx="223">
                  <c:v>44663</c:v>
                </c:pt>
                <c:pt idx="224">
                  <c:v>44664</c:v>
                </c:pt>
                <c:pt idx="225">
                  <c:v>44665</c:v>
                </c:pt>
                <c:pt idx="226">
                  <c:v>44666</c:v>
                </c:pt>
                <c:pt idx="227">
                  <c:v>44667</c:v>
                </c:pt>
                <c:pt idx="228">
                  <c:v>44668</c:v>
                </c:pt>
                <c:pt idx="229">
                  <c:v>44669</c:v>
                </c:pt>
                <c:pt idx="230">
                  <c:v>44670</c:v>
                </c:pt>
                <c:pt idx="231">
                  <c:v>44671</c:v>
                </c:pt>
                <c:pt idx="232">
                  <c:v>44672</c:v>
                </c:pt>
                <c:pt idx="233">
                  <c:v>44673</c:v>
                </c:pt>
                <c:pt idx="234">
                  <c:v>44674</c:v>
                </c:pt>
                <c:pt idx="235">
                  <c:v>44675</c:v>
                </c:pt>
                <c:pt idx="236">
                  <c:v>44676</c:v>
                </c:pt>
                <c:pt idx="237">
                  <c:v>44677</c:v>
                </c:pt>
                <c:pt idx="238">
                  <c:v>44678</c:v>
                </c:pt>
                <c:pt idx="239">
                  <c:v>44679</c:v>
                </c:pt>
                <c:pt idx="240">
                  <c:v>44680</c:v>
                </c:pt>
                <c:pt idx="241">
                  <c:v>44681</c:v>
                </c:pt>
                <c:pt idx="242">
                  <c:v>44682</c:v>
                </c:pt>
                <c:pt idx="243">
                  <c:v>44683</c:v>
                </c:pt>
                <c:pt idx="244">
                  <c:v>44684</c:v>
                </c:pt>
                <c:pt idx="245">
                  <c:v>44685</c:v>
                </c:pt>
              </c:numCache>
            </c:numRef>
          </c:cat>
          <c:val>
            <c:numRef>
              <c:f>Sheet1!$F$2:$F$247</c:f>
              <c:numCache>
                <c:formatCode>General</c:formatCode>
                <c:ptCount val="246"/>
                <c:pt idx="128">
                  <c:v>56.911662118072677</c:v>
                </c:pt>
                <c:pt idx="129">
                  <c:v>56.42755018594282</c:v>
                </c:pt>
                <c:pt idx="130">
                  <c:v>56.111498751079964</c:v>
                </c:pt>
                <c:pt idx="131">
                  <c:v>55.959224854498061</c:v>
                </c:pt>
                <c:pt idx="132">
                  <c:v>55.973831661184803</c:v>
                </c:pt>
                <c:pt idx="133">
                  <c:v>56.14670359542103</c:v>
                </c:pt>
                <c:pt idx="134">
                  <c:v>56.474720262868459</c:v>
                </c:pt>
                <c:pt idx="135">
                  <c:v>56.948876818750293</c:v>
                </c:pt>
                <c:pt idx="136">
                  <c:v>57.575867168551497</c:v>
                </c:pt>
                <c:pt idx="137">
                  <c:v>58.343486875125436</c:v>
                </c:pt>
                <c:pt idx="138">
                  <c:v>59.240727076434965</c:v>
                </c:pt>
                <c:pt idx="139">
                  <c:v>60.260074402951972</c:v>
                </c:pt>
                <c:pt idx="140">
                  <c:v>61.395899456463965</c:v>
                </c:pt>
                <c:pt idx="141">
                  <c:v>62.641063360628749</c:v>
                </c:pt>
                <c:pt idx="142">
                  <c:v>63.980430628663051</c:v>
                </c:pt>
                <c:pt idx="143">
                  <c:v>65.406046811762451</c:v>
                </c:pt>
                <c:pt idx="144">
                  <c:v>66.909920622413011</c:v>
                </c:pt>
                <c:pt idx="145">
                  <c:v>68.487052794225704</c:v>
                </c:pt>
                <c:pt idx="146">
                  <c:v>70.13017268490961</c:v>
                </c:pt>
                <c:pt idx="147">
                  <c:v>71.829783547840634</c:v>
                </c:pt>
                <c:pt idx="148">
                  <c:v>73.580147109898476</c:v>
                </c:pt>
                <c:pt idx="149">
                  <c:v>75.37386971473353</c:v>
                </c:pt>
                <c:pt idx="150">
                  <c:v>77.203934285410469</c:v>
                </c:pt>
                <c:pt idx="151">
                  <c:v>79.062643132364073</c:v>
                </c:pt>
                <c:pt idx="152">
                  <c:v>80.943005549875167</c:v>
                </c:pt>
                <c:pt idx="153">
                  <c:v>82.83546530153815</c:v>
                </c:pt>
                <c:pt idx="154">
                  <c:v>84.732285458138307</c:v>
                </c:pt>
                <c:pt idx="155">
                  <c:v>86.627145592080353</c:v>
                </c:pt>
                <c:pt idx="156">
                  <c:v>88.511687486228737</c:v>
                </c:pt>
                <c:pt idx="157">
                  <c:v>90.37771939180972</c:v>
                </c:pt>
                <c:pt idx="158">
                  <c:v>92.217324033089639</c:v>
                </c:pt>
                <c:pt idx="159">
                  <c:v>94.022715548013309</c:v>
                </c:pt>
                <c:pt idx="160">
                  <c:v>95.786145396338625</c:v>
                </c:pt>
                <c:pt idx="161">
                  <c:v>97.500082203341677</c:v>
                </c:pt>
                <c:pt idx="162">
                  <c:v>99.157305336861953</c:v>
                </c:pt>
                <c:pt idx="163">
                  <c:v>100.75080063411635</c:v>
                </c:pt>
                <c:pt idx="164">
                  <c:v>102.27384555609335</c:v>
                </c:pt>
                <c:pt idx="165">
                  <c:v>103.72008903705212</c:v>
                </c:pt>
                <c:pt idx="166">
                  <c:v>105.08344410618258</c:v>
                </c:pt>
                <c:pt idx="167">
                  <c:v>106.35814357715002</c:v>
                </c:pt>
                <c:pt idx="168">
                  <c:v>107.53882484568268</c:v>
                </c:pt>
                <c:pt idx="169">
                  <c:v>108.62053125250267</c:v>
                </c:pt>
                <c:pt idx="170">
                  <c:v>109.59877689422414</c:v>
                </c:pt>
                <c:pt idx="171">
                  <c:v>110.46952474891023</c:v>
                </c:pt>
                <c:pt idx="172">
                  <c:v>111.22934308662464</c:v>
                </c:pt>
                <c:pt idx="173">
                  <c:v>111.87530352472601</c:v>
                </c:pt>
                <c:pt idx="174">
                  <c:v>112.40503820105394</c:v>
                </c:pt>
                <c:pt idx="175">
                  <c:v>112.81674908073474</c:v>
                </c:pt>
                <c:pt idx="176">
                  <c:v>113.10923629932682</c:v>
                </c:pt>
                <c:pt idx="177">
                  <c:v>113.28190936787394</c:v>
                </c:pt>
                <c:pt idx="178">
                  <c:v>113.33471932338222</c:v>
                </c:pt>
                <c:pt idx="179">
                  <c:v>113.26821006364858</c:v>
                </c:pt>
                <c:pt idx="180">
                  <c:v>113.08350306779157</c:v>
                </c:pt>
                <c:pt idx="181">
                  <c:v>112.78230061403417</c:v>
                </c:pt>
                <c:pt idx="182">
                  <c:v>112.36684838006452</c:v>
                </c:pt>
                <c:pt idx="183">
                  <c:v>111.8399024472553</c:v>
                </c:pt>
                <c:pt idx="184">
                  <c:v>111.20472542209356</c:v>
                </c:pt>
                <c:pt idx="185">
                  <c:v>109.98117973775317</c:v>
                </c:pt>
                <c:pt idx="186">
                  <c:v>108.62771483017512</c:v>
                </c:pt>
                <c:pt idx="187">
                  <c:v>107.15120435563722</c:v>
                </c:pt>
                <c:pt idx="188">
                  <c:v>105.55892796071137</c:v>
                </c:pt>
                <c:pt idx="189">
                  <c:v>103.85849108991123</c:v>
                </c:pt>
                <c:pt idx="190">
                  <c:v>102.05777623191541</c:v>
                </c:pt>
                <c:pt idx="191">
                  <c:v>100.16488639642121</c:v>
                </c:pt>
                <c:pt idx="192">
                  <c:v>98.188068597516065</c:v>
                </c:pt>
                <c:pt idx="193">
                  <c:v>96.135653992067731</c:v>
                </c:pt>
                <c:pt idx="194">
                  <c:v>94.016000696536537</c:v>
                </c:pt>
                <c:pt idx="195">
                  <c:v>91.837438264992045</c:v>
                </c:pt>
                <c:pt idx="196">
                  <c:v>89.608214461592141</c:v>
                </c:pt>
                <c:pt idx="197">
                  <c:v>87.336445154008658</c:v>
                </c:pt>
                <c:pt idx="198">
                  <c:v>85.030068227851743</c:v>
                </c:pt>
                <c:pt idx="199">
                  <c:v>82.696801252265232</c:v>
                </c:pt>
                <c:pt idx="200">
                  <c:v>80.344104111322963</c:v>
                </c:pt>
                <c:pt idx="201">
                  <c:v>77.979146438983307</c:v>
                </c:pt>
                <c:pt idx="202">
                  <c:v>75.608779164963011</c:v>
                </c:pt>
                <c:pt idx="203">
                  <c:v>73.239510793108551</c:v>
                </c:pt>
                <c:pt idx="204">
                  <c:v>70.877488140682047</c:v>
                </c:pt>
                <c:pt idx="205">
                  <c:v>68.528481568191239</c:v>
                </c:pt>
                <c:pt idx="206">
                  <c:v>66.197874327344238</c:v>
                </c:pt>
                <c:pt idx="207">
                  <c:v>63.890655613472788</c:v>
                </c:pt>
                <c:pt idx="208">
                  <c:v>61.611417653658528</c:v>
                </c:pt>
                <c:pt idx="209">
                  <c:v>59.364355989692726</c:v>
                </c:pt>
                <c:pt idx="210">
                  <c:v>57.153273065060468</c:v>
                </c:pt>
                <c:pt idx="211">
                  <c:v>54.981584419582568</c:v>
                </c:pt>
                <c:pt idx="212">
                  <c:v>52.852327449434938</c:v>
                </c:pt>
                <c:pt idx="213">
                  <c:v>50.768172452141933</c:v>
                </c:pt>
                <c:pt idx="214">
                  <c:v>48.731435341944227</c:v>
                </c:pt>
                <c:pt idx="215">
                  <c:v>46.744092089356492</c:v>
                </c:pt>
                <c:pt idx="216">
                  <c:v>44.807794377920224</c:v>
                </c:pt>
                <c:pt idx="217">
                  <c:v>42.92388630484156</c:v>
                </c:pt>
                <c:pt idx="218">
                  <c:v>41.093421806414923</c:v>
                </c:pt>
                <c:pt idx="219">
                  <c:v>39.317182618552209</c:v>
                </c:pt>
                <c:pt idx="220">
                  <c:v>37.595696590849926</c:v>
                </c:pt>
                <c:pt idx="221">
                  <c:v>35.929255979502059</c:v>
                </c:pt>
                <c:pt idx="222">
                  <c:v>34.317935744921215</c:v>
                </c:pt>
                <c:pt idx="223">
                  <c:v>32.761611612196049</c:v>
                </c:pt>
                <c:pt idx="224">
                  <c:v>31.259977763805967</c:v>
                </c:pt>
                <c:pt idx="225">
                  <c:v>29.812564051044085</c:v>
                </c:pt>
                <c:pt idx="226">
                  <c:v>28.418752628049987</c:v>
                </c:pt>
                <c:pt idx="227">
                  <c:v>27.077793929337943</c:v>
                </c:pt>
                <c:pt idx="228">
                  <c:v>25.78882192776916</c:v>
                </c:pt>
                <c:pt idx="229">
                  <c:v>24.550868624820005</c:v>
                </c:pt>
                <c:pt idx="230">
                  <c:v>23.362877738625784</c:v>
                </c:pt>
                <c:pt idx="231">
                  <c:v>22.223717567581957</c:v>
                </c:pt>
                <c:pt idx="232">
                  <c:v>21.132193018256082</c:v>
                </c:pt>
                <c:pt idx="233">
                  <c:v>20.087056796029227</c:v>
                </c:pt>
                <c:pt idx="234">
                  <c:v>19.087019765289753</c:v>
                </c:pt>
                <c:pt idx="235">
                  <c:v>18.130760493205457</c:v>
                </c:pt>
                <c:pt idx="236">
                  <c:v>17.216933997174483</c:v>
                </c:pt>
                <c:pt idx="237">
                  <c:v>16.344179721078948</c:v>
                </c:pt>
                <c:pt idx="238">
                  <c:v>15.511128769522276</c:v>
                </c:pt>
                <c:pt idx="239">
                  <c:v>14.716410432407914</c:v>
                </c:pt>
                <c:pt idx="240">
                  <c:v>13.958658034599356</c:v>
                </c:pt>
                <c:pt idx="241">
                  <c:v>13.236514147075345</c:v>
                </c:pt>
                <c:pt idx="242">
                  <c:v>12.548635197041236</c:v>
                </c:pt>
                <c:pt idx="243">
                  <c:v>11.893695514958589</c:v>
                </c:pt>
                <c:pt idx="244">
                  <c:v>11.270390856483388</c:v>
                </c:pt>
                <c:pt idx="245">
                  <c:v>10.677441436929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220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4304933551649121"/>
          <c:y val="0.40781247491311057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B$2:$B$469</c:f>
              <c:numCache>
                <c:formatCode>General</c:formatCode>
                <c:ptCount val="468"/>
                <c:pt idx="1">
                  <c:v>4.1699060659159999</c:v>
                </c:pt>
                <c:pt idx="2">
                  <c:v>4.7258935413709997</c:v>
                </c:pt>
                <c:pt idx="3">
                  <c:v>5.606207044175</c:v>
                </c:pt>
                <c:pt idx="4">
                  <c:v>4.4015675140220001</c:v>
                </c:pt>
                <c:pt idx="5">
                  <c:v>5.3282133064480002</c:v>
                </c:pt>
                <c:pt idx="6">
                  <c:v>3.938244617809</c:v>
                </c:pt>
                <c:pt idx="7">
                  <c:v>3.2432602734899998</c:v>
                </c:pt>
                <c:pt idx="8">
                  <c:v>4.8648904102349997</c:v>
                </c:pt>
                <c:pt idx="9">
                  <c:v>6.2548590988740003</c:v>
                </c:pt>
                <c:pt idx="10">
                  <c:v>5.0038872790989997</c:v>
                </c:pt>
                <c:pt idx="11">
                  <c:v>5.3745455960689998</c:v>
                </c:pt>
                <c:pt idx="12">
                  <c:v>4.6332289621280003</c:v>
                </c:pt>
                <c:pt idx="13">
                  <c:v>5.0965518583409999</c:v>
                </c:pt>
                <c:pt idx="14">
                  <c:v>4.5405643828860001</c:v>
                </c:pt>
                <c:pt idx="15">
                  <c:v>4.8648904102349997</c:v>
                </c:pt>
                <c:pt idx="16">
                  <c:v>4.9575549894769999</c:v>
                </c:pt>
                <c:pt idx="17">
                  <c:v>5.3745455960689998</c:v>
                </c:pt>
                <c:pt idx="18">
                  <c:v>5.0965518583409999</c:v>
                </c:pt>
                <c:pt idx="19">
                  <c:v>5.4208778856900004</c:v>
                </c:pt>
                <c:pt idx="20">
                  <c:v>5.1428841479629996</c:v>
                </c:pt>
                <c:pt idx="21">
                  <c:v>4.3089049311940002</c:v>
                </c:pt>
                <c:pt idx="22">
                  <c:v>3.1505971539909998</c:v>
                </c:pt>
                <c:pt idx="23">
                  <c:v>5.0502242484890001</c:v>
                </c:pt>
                <c:pt idx="24">
                  <c:v>4.911227250824</c:v>
                </c:pt>
                <c:pt idx="25">
                  <c:v>4.4015756714250003</c:v>
                </c:pt>
                <c:pt idx="26">
                  <c:v>4.5405727978910004</c:v>
                </c:pt>
                <c:pt idx="27">
                  <c:v>4.5869051733799999</c:v>
                </c:pt>
                <c:pt idx="28">
                  <c:v>3.2896001838459998</c:v>
                </c:pt>
                <c:pt idx="29">
                  <c:v>2.8726086112460001</c:v>
                </c:pt>
                <c:pt idx="30">
                  <c:v>4.0772509320910002</c:v>
                </c:pt>
                <c:pt idx="31">
                  <c:v>4.2162500764480004</c:v>
                </c:pt>
                <c:pt idx="32">
                  <c:v>3.7065934737999999</c:v>
                </c:pt>
                <c:pt idx="33">
                  <c:v>4.4942487515709999</c:v>
                </c:pt>
                <c:pt idx="34">
                  <c:v>4.0772565993640004</c:v>
                </c:pt>
                <c:pt idx="35">
                  <c:v>4.1235890607199996</c:v>
                </c:pt>
                <c:pt idx="36">
                  <c:v>3.3360222290279999</c:v>
                </c:pt>
                <c:pt idx="37">
                  <c:v>4.0315667038929996</c:v>
                </c:pt>
                <c:pt idx="38">
                  <c:v>5.0524762232320004</c:v>
                </c:pt>
                <c:pt idx="39">
                  <c:v>3.709007928468</c:v>
                </c:pt>
                <c:pt idx="40">
                  <c:v>4.4049145863870001</c:v>
                </c:pt>
                <c:pt idx="41">
                  <c:v>4.0807052200560001</c:v>
                </c:pt>
                <c:pt idx="42">
                  <c:v>4.4054824606140004</c:v>
                </c:pt>
                <c:pt idx="43">
                  <c:v>4.0810155792760003</c:v>
                </c:pt>
                <c:pt idx="44">
                  <c:v>4.4526075583009996</c:v>
                </c:pt>
                <c:pt idx="45">
                  <c:v>4.8244391241600004</c:v>
                </c:pt>
                <c:pt idx="46">
                  <c:v>4.2685136339570002</c:v>
                </c:pt>
                <c:pt idx="47">
                  <c:v>4.7808335917139999</c:v>
                </c:pt>
                <c:pt idx="48">
                  <c:v>3.854767232435</c:v>
                </c:pt>
                <c:pt idx="49">
                  <c:v>3.5301205211009998</c:v>
                </c:pt>
                <c:pt idx="50">
                  <c:v>3.2518995739080001</c:v>
                </c:pt>
                <c:pt idx="51">
                  <c:v>4.9274044571619999</c:v>
                </c:pt>
                <c:pt idx="52">
                  <c:v>5.1183430713679998</c:v>
                </c:pt>
                <c:pt idx="53">
                  <c:v>5.54382604126</c:v>
                </c:pt>
                <c:pt idx="54">
                  <c:v>4.1995652050150003</c:v>
                </c:pt>
                <c:pt idx="55">
                  <c:v>5.0929534083529999</c:v>
                </c:pt>
                <c:pt idx="56">
                  <c:v>4.0674961241899998</c:v>
                </c:pt>
                <c:pt idx="57">
                  <c:v>4.2577063314899997</c:v>
                </c:pt>
                <c:pt idx="58">
                  <c:v>5.5334270577079998</c:v>
                </c:pt>
                <c:pt idx="59">
                  <c:v>5.4078939262760004</c:v>
                </c:pt>
                <c:pt idx="60">
                  <c:v>4.4358391262710004</c:v>
                </c:pt>
                <c:pt idx="61">
                  <c:v>5.7841643802620002</c:v>
                </c:pt>
                <c:pt idx="62">
                  <c:v>4.3810107944289998</c:v>
                </c:pt>
                <c:pt idx="63">
                  <c:v>5.1485597857430001</c:v>
                </c:pt>
                <c:pt idx="64">
                  <c:v>4.8653792491569998</c:v>
                </c:pt>
                <c:pt idx="65">
                  <c:v>7.8930185055399997</c:v>
                </c:pt>
                <c:pt idx="66">
                  <c:v>6.2365943205730003</c:v>
                </c:pt>
                <c:pt idx="67">
                  <c:v>6.2044734734710003</c:v>
                </c:pt>
                <c:pt idx="68">
                  <c:v>6.2677697298539998</c:v>
                </c:pt>
                <c:pt idx="69">
                  <c:v>6.8144483704040004</c:v>
                </c:pt>
                <c:pt idx="70">
                  <c:v>4.7387223244100003</c:v>
                </c:pt>
                <c:pt idx="71">
                  <c:v>5.4180693580600003</c:v>
                </c:pt>
                <c:pt idx="72">
                  <c:v>6.9803493470940001</c:v>
                </c:pt>
                <c:pt idx="73">
                  <c:v>6.511128441726</c:v>
                </c:pt>
                <c:pt idx="74">
                  <c:v>6.9142015752689998</c:v>
                </c:pt>
                <c:pt idx="75">
                  <c:v>6.0000878061630001</c:v>
                </c:pt>
                <c:pt idx="76">
                  <c:v>6.1082071337009998</c:v>
                </c:pt>
                <c:pt idx="77">
                  <c:v>5.1321278535239996</c:v>
                </c:pt>
                <c:pt idx="78">
                  <c:v>5.4266787259519997</c:v>
                </c:pt>
                <c:pt idx="79">
                  <c:v>6.4611593767329998</c:v>
                </c:pt>
                <c:pt idx="80">
                  <c:v>6.1258384435069999</c:v>
                </c:pt>
                <c:pt idx="81">
                  <c:v>5.6438587700409997</c:v>
                </c:pt>
                <c:pt idx="82">
                  <c:v>5.8987595891710001</c:v>
                </c:pt>
                <c:pt idx="83">
                  <c:v>4.8262096672909998</c:v>
                </c:pt>
                <c:pt idx="84">
                  <c:v>4.9758523364089999</c:v>
                </c:pt>
                <c:pt idx="85">
                  <c:v>4.879181125553</c:v>
                </c:pt>
                <c:pt idx="86">
                  <c:v>5.875092569735</c:v>
                </c:pt>
                <c:pt idx="87">
                  <c:v>5.8389335138450003</c:v>
                </c:pt>
                <c:pt idx="88">
                  <c:v>5.2570003655099997</c:v>
                </c:pt>
                <c:pt idx="89">
                  <c:v>5.7682802270310001</c:v>
                </c:pt>
                <c:pt idx="90">
                  <c:v>4.2879273405719998</c:v>
                </c:pt>
                <c:pt idx="91">
                  <c:v>4.4398859398289998</c:v>
                </c:pt>
                <c:pt idx="92">
                  <c:v>4.2419318456289998</c:v>
                </c:pt>
                <c:pt idx="93">
                  <c:v>5.3560925552810001</c:v>
                </c:pt>
                <c:pt idx="94">
                  <c:v>4.6230017451830001</c:v>
                </c:pt>
                <c:pt idx="95">
                  <c:v>4.690362918091</c:v>
                </c:pt>
                <c:pt idx="96">
                  <c:v>4.4579827526719997</c:v>
                </c:pt>
                <c:pt idx="97">
                  <c:v>3.4611868613340002</c:v>
                </c:pt>
                <c:pt idx="98">
                  <c:v>3.8204665961319999</c:v>
                </c:pt>
                <c:pt idx="99">
                  <c:v>2.9053794374569999</c:v>
                </c:pt>
                <c:pt idx="100">
                  <c:v>3.1215154804140002</c:v>
                </c:pt>
                <c:pt idx="101">
                  <c:v>6.3213399184899997</c:v>
                </c:pt>
                <c:pt idx="102">
                  <c:v>5.1140008946910003</c:v>
                </c:pt>
                <c:pt idx="103">
                  <c:v>4.1059842901919996</c:v>
                </c:pt>
                <c:pt idx="104">
                  <c:v>2.8749962102320001</c:v>
                </c:pt>
                <c:pt idx="105">
                  <c:v>3.3512906658169999</c:v>
                </c:pt>
                <c:pt idx="106">
                  <c:v>2.936683529872</c:v>
                </c:pt>
                <c:pt idx="107">
                  <c:v>3.4852791840639998</c:v>
                </c:pt>
                <c:pt idx="108">
                  <c:v>3.6171290208640001</c:v>
                </c:pt>
                <c:pt idx="109">
                  <c:v>3.2225129048209999</c:v>
                </c:pt>
                <c:pt idx="110">
                  <c:v>3.423269320008</c:v>
                </c:pt>
                <c:pt idx="111">
                  <c:v>3.3855527542830002</c:v>
                </c:pt>
                <c:pt idx="112">
                  <c:v>2.4123984119830002</c:v>
                </c:pt>
                <c:pt idx="113">
                  <c:v>2.1453691107549999</c:v>
                </c:pt>
                <c:pt idx="114">
                  <c:v>3.4749456419209999</c:v>
                </c:pt>
                <c:pt idx="115">
                  <c:v>2.4519132446220002</c:v>
                </c:pt>
                <c:pt idx="116">
                  <c:v>2.640694221655</c:v>
                </c:pt>
                <c:pt idx="117">
                  <c:v>2.1623011892080002</c:v>
                </c:pt>
                <c:pt idx="118">
                  <c:v>2.5900398578349999</c:v>
                </c:pt>
                <c:pt idx="119">
                  <c:v>1.73811376418</c:v>
                </c:pt>
                <c:pt idx="120">
                  <c:v>1.5129455770189999</c:v>
                </c:pt>
                <c:pt idx="121">
                  <c:v>2.3523351042490002</c:v>
                </c:pt>
                <c:pt idx="122">
                  <c:v>1.9608903392870001</c:v>
                </c:pt>
                <c:pt idx="123">
                  <c:v>2.5851118000729998</c:v>
                </c:pt>
                <c:pt idx="124">
                  <c:v>1.7629061447000001</c:v>
                </c:pt>
                <c:pt idx="125">
                  <c:v>1.6567568065089999</c:v>
                </c:pt>
                <c:pt idx="126">
                  <c:v>1.3546464372789999</c:v>
                </c:pt>
                <c:pt idx="127">
                  <c:v>1.60446683567</c:v>
                </c:pt>
                <c:pt idx="128">
                  <c:v>1.863614480284</c:v>
                </c:pt>
                <c:pt idx="129">
                  <c:v>2.3768167793249999</c:v>
                </c:pt>
                <c:pt idx="130">
                  <c:v>1.698856858096</c:v>
                </c:pt>
                <c:pt idx="131">
                  <c:v>1.2670320787180001</c:v>
                </c:pt>
                <c:pt idx="132">
                  <c:v>1.0816760889129999</c:v>
                </c:pt>
                <c:pt idx="133">
                  <c:v>1.2117702432590001</c:v>
                </c:pt>
                <c:pt idx="134">
                  <c:v>1.0219495604019999</c:v>
                </c:pt>
                <c:pt idx="135">
                  <c:v>1.922060448801</c:v>
                </c:pt>
                <c:pt idx="136">
                  <c:v>1.7383354472350001</c:v>
                </c:pt>
                <c:pt idx="137">
                  <c:v>0.84166310038900005</c:v>
                </c:pt>
                <c:pt idx="138">
                  <c:v>0.91206578339599997</c:v>
                </c:pt>
                <c:pt idx="139">
                  <c:v>1.3728361487359999</c:v>
                </c:pt>
                <c:pt idx="140">
                  <c:v>0.52373021609100001</c:v>
                </c:pt>
                <c:pt idx="141">
                  <c:v>0.52418628270000001</c:v>
                </c:pt>
                <c:pt idx="142">
                  <c:v>0.78790202700900003</c:v>
                </c:pt>
                <c:pt idx="143">
                  <c:v>1.0543900518289999</c:v>
                </c:pt>
                <c:pt idx="144">
                  <c:v>0.86020025461899996</c:v>
                </c:pt>
                <c:pt idx="145">
                  <c:v>0.265894155513</c:v>
                </c:pt>
                <c:pt idx="146">
                  <c:v>0.73397678631600005</c:v>
                </c:pt>
                <c:pt idx="147">
                  <c:v>0.667717208407</c:v>
                </c:pt>
                <c:pt idx="148">
                  <c:v>0.26719143063599998</c:v>
                </c:pt>
                <c:pt idx="149">
                  <c:v>0.73698040369100004</c:v>
                </c:pt>
                <c:pt idx="150">
                  <c:v>0.40362509148800002</c:v>
                </c:pt>
                <c:pt idx="151">
                  <c:v>0.54036966688900001</c:v>
                </c:pt>
                <c:pt idx="152">
                  <c:v>0.20345659185699999</c:v>
                </c:pt>
                <c:pt idx="153">
                  <c:v>0.204048734999</c:v>
                </c:pt>
                <c:pt idx="154">
                  <c:v>0.27228462456300001</c:v>
                </c:pt>
                <c:pt idx="155">
                  <c:v>0.27244652896299998</c:v>
                </c:pt>
                <c:pt idx="156">
                  <c:v>0.75130402473500002</c:v>
                </c:pt>
                <c:pt idx="157">
                  <c:v>0.13740227263300001</c:v>
                </c:pt>
                <c:pt idx="158">
                  <c:v>0.20746184949400001</c:v>
                </c:pt>
                <c:pt idx="159">
                  <c:v>0.21014863813099999</c:v>
                </c:pt>
                <c:pt idx="160">
                  <c:v>0.42529001234699998</c:v>
                </c:pt>
                <c:pt idx="161">
                  <c:v>7.1224361010000001E-2</c:v>
                </c:pt>
                <c:pt idx="162">
                  <c:v>0</c:v>
                </c:pt>
                <c:pt idx="163">
                  <c:v>0.14537081186600001</c:v>
                </c:pt>
                <c:pt idx="164">
                  <c:v>0.369297220004</c:v>
                </c:pt>
                <c:pt idx="165">
                  <c:v>0.150394710918</c:v>
                </c:pt>
                <c:pt idx="166">
                  <c:v>0.23069044111000001</c:v>
                </c:pt>
                <c:pt idx="168">
                  <c:v>0.23711459985700001</c:v>
                </c:pt>
                <c:pt idx="170">
                  <c:v>0.32581939505099999</c:v>
                </c:pt>
                <c:pt idx="172">
                  <c:v>0.25861689957900003</c:v>
                </c:pt>
                <c:pt idx="173">
                  <c:v>8.9390668507999996E-2</c:v>
                </c:pt>
                <c:pt idx="174">
                  <c:v>0.27651400635599999</c:v>
                </c:pt>
                <c:pt idx="176">
                  <c:v>9.4020043191999997E-2</c:v>
                </c:pt>
                <c:pt idx="180">
                  <c:v>0.21782434862300001</c:v>
                </c:pt>
                <c:pt idx="181">
                  <c:v>0.337583889596</c:v>
                </c:pt>
                <c:pt idx="184">
                  <c:v>0.11788629866399999</c:v>
                </c:pt>
                <c:pt idx="185">
                  <c:v>0.121687513765</c:v>
                </c:pt>
                <c:pt idx="187">
                  <c:v>0.12978416892700001</c:v>
                </c:pt>
                <c:pt idx="193">
                  <c:v>0.14683899691300001</c:v>
                </c:pt>
                <c:pt idx="194">
                  <c:v>0.15112177695000001</c:v>
                </c:pt>
                <c:pt idx="196">
                  <c:v>0.15552462343599999</c:v>
                </c:pt>
                <c:pt idx="198">
                  <c:v>0.160031494198</c:v>
                </c:pt>
                <c:pt idx="200">
                  <c:v>0</c:v>
                </c:pt>
                <c:pt idx="202">
                  <c:v>0</c:v>
                </c:pt>
                <c:pt idx="205">
                  <c:v>0.36011314755000001</c:v>
                </c:pt>
                <c:pt idx="206">
                  <c:v>0.180784750444</c:v>
                </c:pt>
                <c:pt idx="207">
                  <c:v>0</c:v>
                </c:pt>
                <c:pt idx="209">
                  <c:v>0</c:v>
                </c:pt>
                <c:pt idx="212">
                  <c:v>0.19717526712299999</c:v>
                </c:pt>
                <c:pt idx="213">
                  <c:v>0.20127001378600001</c:v>
                </c:pt>
                <c:pt idx="214">
                  <c:v>0.20553928369499999</c:v>
                </c:pt>
                <c:pt idx="215">
                  <c:v>0.20988385027699999</c:v>
                </c:pt>
                <c:pt idx="216">
                  <c:v>0.213124641684</c:v>
                </c:pt>
                <c:pt idx="217">
                  <c:v>0</c:v>
                </c:pt>
                <c:pt idx="219">
                  <c:v>0.43465882542099998</c:v>
                </c:pt>
                <c:pt idx="221">
                  <c:v>0.22469486437399999</c:v>
                </c:pt>
                <c:pt idx="223">
                  <c:v>0.230274671628</c:v>
                </c:pt>
                <c:pt idx="224">
                  <c:v>0.23096768531100001</c:v>
                </c:pt>
                <c:pt idx="225">
                  <c:v>0.23128820591999999</c:v>
                </c:pt>
                <c:pt idx="227">
                  <c:v>0</c:v>
                </c:pt>
                <c:pt idx="228">
                  <c:v>0.23925276576099999</c:v>
                </c:pt>
                <c:pt idx="229">
                  <c:v>0.24193567898000001</c:v>
                </c:pt>
                <c:pt idx="230">
                  <c:v>0.24384891121400001</c:v>
                </c:pt>
                <c:pt idx="231">
                  <c:v>0.244378679426</c:v>
                </c:pt>
                <c:pt idx="232">
                  <c:v>0.244683037593</c:v>
                </c:pt>
                <c:pt idx="233">
                  <c:v>0.24652401143800001</c:v>
                </c:pt>
                <c:pt idx="234">
                  <c:v>0.74635591723399997</c:v>
                </c:pt>
                <c:pt idx="235">
                  <c:v>0.25093158350299999</c:v>
                </c:pt>
                <c:pt idx="236">
                  <c:v>0.25323636068900002</c:v>
                </c:pt>
                <c:pt idx="237">
                  <c:v>0.51018976508299996</c:v>
                </c:pt>
                <c:pt idx="240">
                  <c:v>0.51628091877299997</c:v>
                </c:pt>
                <c:pt idx="241">
                  <c:v>0.26056730714100002</c:v>
                </c:pt>
                <c:pt idx="242">
                  <c:v>0.52598358931199996</c:v>
                </c:pt>
                <c:pt idx="243">
                  <c:v>0.26535686518000001</c:v>
                </c:pt>
                <c:pt idx="244">
                  <c:v>0</c:v>
                </c:pt>
                <c:pt idx="248">
                  <c:v>0.27161218126300002</c:v>
                </c:pt>
                <c:pt idx="249">
                  <c:v>0.82209348847099994</c:v>
                </c:pt>
                <c:pt idx="250">
                  <c:v>0.27652496605600002</c:v>
                </c:pt>
                <c:pt idx="251">
                  <c:v>1.1146283828970001</c:v>
                </c:pt>
                <c:pt idx="253">
                  <c:v>0.55933260433599996</c:v>
                </c:pt>
                <c:pt idx="254">
                  <c:v>0.84523470759099995</c:v>
                </c:pt>
                <c:pt idx="255">
                  <c:v>0.85162191393499997</c:v>
                </c:pt>
                <c:pt idx="257">
                  <c:v>0</c:v>
                </c:pt>
                <c:pt idx="258">
                  <c:v>0.28897808679100001</c:v>
                </c:pt>
                <c:pt idx="259">
                  <c:v>0.289269825107</c:v>
                </c:pt>
                <c:pt idx="260">
                  <c:v>0.57893319979199998</c:v>
                </c:pt>
                <c:pt idx="261">
                  <c:v>1.1628008383790001</c:v>
                </c:pt>
                <c:pt idx="262">
                  <c:v>0.87577433046999997</c:v>
                </c:pt>
                <c:pt idx="263">
                  <c:v>0.58578190168199995</c:v>
                </c:pt>
                <c:pt idx="264">
                  <c:v>0.58778926579199997</c:v>
                </c:pt>
                <c:pt idx="265">
                  <c:v>0.29471400952499999</c:v>
                </c:pt>
                <c:pt idx="266">
                  <c:v>0</c:v>
                </c:pt>
                <c:pt idx="267">
                  <c:v>0.29498699107300003</c:v>
                </c:pt>
                <c:pt idx="268">
                  <c:v>0.29575211240900001</c:v>
                </c:pt>
                <c:pt idx="269">
                  <c:v>0.59311453338099995</c:v>
                </c:pt>
                <c:pt idx="271">
                  <c:v>0.29804304933800002</c:v>
                </c:pt>
                <c:pt idx="272">
                  <c:v>0</c:v>
                </c:pt>
                <c:pt idx="273">
                  <c:v>0.89668942265100005</c:v>
                </c:pt>
                <c:pt idx="274">
                  <c:v>0.29896796259300001</c:v>
                </c:pt>
                <c:pt idx="275">
                  <c:v>0.29973144062899998</c:v>
                </c:pt>
                <c:pt idx="276">
                  <c:v>0.90137730452099996</c:v>
                </c:pt>
                <c:pt idx="277">
                  <c:v>0.301118655806</c:v>
                </c:pt>
                <c:pt idx="278">
                  <c:v>0.60362051585400001</c:v>
                </c:pt>
                <c:pt idx="279">
                  <c:v>0.60507781300600005</c:v>
                </c:pt>
                <c:pt idx="280">
                  <c:v>0.90800680399699996</c:v>
                </c:pt>
                <c:pt idx="281">
                  <c:v>1.2109359626780001</c:v>
                </c:pt>
                <c:pt idx="282">
                  <c:v>0.30332075563200001</c:v>
                </c:pt>
                <c:pt idx="283">
                  <c:v>0.91172385707799997</c:v>
                </c:pt>
                <c:pt idx="284">
                  <c:v>1.5221302517290001</c:v>
                </c:pt>
                <c:pt idx="285">
                  <c:v>0.91504424238899995</c:v>
                </c:pt>
                <c:pt idx="286">
                  <c:v>0.91691805503299995</c:v>
                </c:pt>
                <c:pt idx="287">
                  <c:v>0.91723484269400002</c:v>
                </c:pt>
                <c:pt idx="288">
                  <c:v>0</c:v>
                </c:pt>
                <c:pt idx="289">
                  <c:v>3.6754571349809999</c:v>
                </c:pt>
                <c:pt idx="290">
                  <c:v>3.0632280910260001</c:v>
                </c:pt>
                <c:pt idx="291">
                  <c:v>0.92100819697199998</c:v>
                </c:pt>
                <c:pt idx="292">
                  <c:v>1.846392456871</c:v>
                </c:pt>
                <c:pt idx="293">
                  <c:v>1.541582650412</c:v>
                </c:pt>
                <c:pt idx="294">
                  <c:v>1.5420248019260001</c:v>
                </c:pt>
                <c:pt idx="295">
                  <c:v>0</c:v>
                </c:pt>
                <c:pt idx="296">
                  <c:v>1.8538315608639999</c:v>
                </c:pt>
                <c:pt idx="297">
                  <c:v>1.547513300876</c:v>
                </c:pt>
                <c:pt idx="298">
                  <c:v>2.4801202858329998</c:v>
                </c:pt>
                <c:pt idx="299">
                  <c:v>1.242340196227</c:v>
                </c:pt>
                <c:pt idx="300">
                  <c:v>3.111271514442</c:v>
                </c:pt>
                <c:pt idx="301">
                  <c:v>1.8671346950959999</c:v>
                </c:pt>
                <c:pt idx="302">
                  <c:v>2.1785610915209999</c:v>
                </c:pt>
                <c:pt idx="303">
                  <c:v>4.051977520875</c:v>
                </c:pt>
                <c:pt idx="304">
                  <c:v>4.9946463634290001</c:v>
                </c:pt>
                <c:pt idx="305">
                  <c:v>2.5010473135620002</c:v>
                </c:pt>
                <c:pt idx="306">
                  <c:v>2.5057083167590002</c:v>
                </c:pt>
                <c:pt idx="307">
                  <c:v>5.0196865833180002</c:v>
                </c:pt>
                <c:pt idx="308">
                  <c:v>4.7071228182480001</c:v>
                </c:pt>
                <c:pt idx="309">
                  <c:v>5.0215770890540004</c:v>
                </c:pt>
                <c:pt idx="310">
                  <c:v>7.8569655142060002</c:v>
                </c:pt>
                <c:pt idx="311">
                  <c:v>4.4029726355249998</c:v>
                </c:pt>
                <c:pt idx="312">
                  <c:v>8.1886668850309992</c:v>
                </c:pt>
                <c:pt idx="313">
                  <c:v>6.3118163513910002</c:v>
                </c:pt>
                <c:pt idx="314">
                  <c:v>10.747929443004001</c:v>
                </c:pt>
                <c:pt idx="315">
                  <c:v>3.7944784015119999</c:v>
                </c:pt>
                <c:pt idx="316">
                  <c:v>7.2749356326339996</c:v>
                </c:pt>
                <c:pt idx="317">
                  <c:v>10.456207501852999</c:v>
                </c:pt>
                <c:pt idx="318">
                  <c:v>9.2054140531749997</c:v>
                </c:pt>
                <c:pt idx="319">
                  <c:v>6.6813444137589997</c:v>
                </c:pt>
                <c:pt idx="320">
                  <c:v>7.6390060379970004</c:v>
                </c:pt>
                <c:pt idx="321">
                  <c:v>5.102382493725</c:v>
                </c:pt>
                <c:pt idx="322">
                  <c:v>5.4234087080800002</c:v>
                </c:pt>
                <c:pt idx="323">
                  <c:v>5.4253991657649996</c:v>
                </c:pt>
                <c:pt idx="324">
                  <c:v>10.235578230204</c:v>
                </c:pt>
                <c:pt idx="325">
                  <c:v>5.4493117839760004</c:v>
                </c:pt>
                <c:pt idx="326">
                  <c:v>8.9971691050059999</c:v>
                </c:pt>
                <c:pt idx="327">
                  <c:v>9.9856979036470008</c:v>
                </c:pt>
                <c:pt idx="328">
                  <c:v>15.504877576069999</c:v>
                </c:pt>
                <c:pt idx="329">
                  <c:v>10.663805750699</c:v>
                </c:pt>
                <c:pt idx="330">
                  <c:v>10.990254230439</c:v>
                </c:pt>
                <c:pt idx="331">
                  <c:v>11.014357539003001</c:v>
                </c:pt>
                <c:pt idx="332">
                  <c:v>14.931768310892</c:v>
                </c:pt>
                <c:pt idx="333">
                  <c:v>10.735477826358</c:v>
                </c:pt>
                <c:pt idx="334">
                  <c:v>11.742372350627001</c:v>
                </c:pt>
                <c:pt idx="335">
                  <c:v>11.776482364716999</c:v>
                </c:pt>
                <c:pt idx="336">
                  <c:v>7.5273356831709997</c:v>
                </c:pt>
                <c:pt idx="337">
                  <c:v>7.8574912994649999</c:v>
                </c:pt>
                <c:pt idx="338">
                  <c:v>16.41847406702</c:v>
                </c:pt>
                <c:pt idx="339">
                  <c:v>13.505234101704</c:v>
                </c:pt>
                <c:pt idx="340">
                  <c:v>11.866306282549001</c:v>
                </c:pt>
                <c:pt idx="341">
                  <c:v>9.9200116394800002</c:v>
                </c:pt>
                <c:pt idx="342">
                  <c:v>15.927424037801</c:v>
                </c:pt>
                <c:pt idx="343">
                  <c:v>7.9684714147679996</c:v>
                </c:pt>
                <c:pt idx="344">
                  <c:v>7.9721506204989998</c:v>
                </c:pt>
                <c:pt idx="345">
                  <c:v>12.001880294578999</c:v>
                </c:pt>
                <c:pt idx="346">
                  <c:v>11.377097234025999</c:v>
                </c:pt>
                <c:pt idx="347">
                  <c:v>14.119118294679</c:v>
                </c:pt>
                <c:pt idx="348">
                  <c:v>10.129933277506</c:v>
                </c:pt>
                <c:pt idx="349">
                  <c:v>9.4965795355489995</c:v>
                </c:pt>
                <c:pt idx="350">
                  <c:v>10.522349810427</c:v>
                </c:pt>
                <c:pt idx="351">
                  <c:v>9.1682060197759991</c:v>
                </c:pt>
                <c:pt idx="352">
                  <c:v>6.4787819889860003</c:v>
                </c:pt>
                <c:pt idx="353">
                  <c:v>14.033310286758001</c:v>
                </c:pt>
                <c:pt idx="354">
                  <c:v>8.248613201905</c:v>
                </c:pt>
                <c:pt idx="355">
                  <c:v>9.6650707793839992</c:v>
                </c:pt>
                <c:pt idx="356">
                  <c:v>10.744861529929</c:v>
                </c:pt>
                <c:pt idx="357">
                  <c:v>10.059071027447001</c:v>
                </c:pt>
                <c:pt idx="358">
                  <c:v>5.8990294361559998</c:v>
                </c:pt>
                <c:pt idx="359">
                  <c:v>10.798082817811</c:v>
                </c:pt>
                <c:pt idx="360">
                  <c:v>11.543062619364999</c:v>
                </c:pt>
                <c:pt idx="361">
                  <c:v>8.0620850655129992</c:v>
                </c:pt>
                <c:pt idx="362">
                  <c:v>9.5098550275430007</c:v>
                </c:pt>
                <c:pt idx="363">
                  <c:v>5.6611517613249998</c:v>
                </c:pt>
                <c:pt idx="364">
                  <c:v>4.2498937526559999</c:v>
                </c:pt>
                <c:pt idx="365">
                  <c:v>10.277674410362</c:v>
                </c:pt>
                <c:pt idx="366">
                  <c:v>17.079419299743002</c:v>
                </c:pt>
                <c:pt idx="367">
                  <c:v>11.082431843044001</c:v>
                </c:pt>
                <c:pt idx="368">
                  <c:v>10.418200956318</c:v>
                </c:pt>
                <c:pt idx="369">
                  <c:v>7.9483788919949996</c:v>
                </c:pt>
                <c:pt idx="370">
                  <c:v>7.6272386853540004</c:v>
                </c:pt>
                <c:pt idx="371">
                  <c:v>6.9095934249760003</c:v>
                </c:pt>
                <c:pt idx="372">
                  <c:v>4.3659066350859996</c:v>
                </c:pt>
                <c:pt idx="373">
                  <c:v>6.2175635197260002</c:v>
                </c:pt>
                <c:pt idx="374">
                  <c:v>6.9837279139600001</c:v>
                </c:pt>
                <c:pt idx="375">
                  <c:v>8.1299010369310007</c:v>
                </c:pt>
                <c:pt idx="376">
                  <c:v>11.478208066588</c:v>
                </c:pt>
                <c:pt idx="377">
                  <c:v>5.1838220319839996</c:v>
                </c:pt>
                <c:pt idx="378">
                  <c:v>6.2946410388369998</c:v>
                </c:pt>
                <c:pt idx="379">
                  <c:v>4.0730784326789999</c:v>
                </c:pt>
                <c:pt idx="380">
                  <c:v>7.804022416125</c:v>
                </c:pt>
                <c:pt idx="381">
                  <c:v>7.8328105243130004</c:v>
                </c:pt>
                <c:pt idx="382">
                  <c:v>5.240128907171</c:v>
                </c:pt>
                <c:pt idx="383">
                  <c:v>4.1272080563099998</c:v>
                </c:pt>
                <c:pt idx="384">
                  <c:v>2.2522184351579999</c:v>
                </c:pt>
                <c:pt idx="385">
                  <c:v>3.002980458104</c:v>
                </c:pt>
                <c:pt idx="386">
                  <c:v>2.2527342562029999</c:v>
                </c:pt>
                <c:pt idx="387">
                  <c:v>3.0139773198199999</c:v>
                </c:pt>
                <c:pt idx="388">
                  <c:v>3.0260047281319999</c:v>
                </c:pt>
                <c:pt idx="389">
                  <c:v>3.038855566993</c:v>
                </c:pt>
                <c:pt idx="390">
                  <c:v>3.0518975172810001</c:v>
                </c:pt>
                <c:pt idx="391">
                  <c:v>3.8294662107040001</c:v>
                </c:pt>
                <c:pt idx="392">
                  <c:v>2.298850574712</c:v>
                </c:pt>
                <c:pt idx="393">
                  <c:v>3.4487515519379999</c:v>
                </c:pt>
                <c:pt idx="394">
                  <c:v>5.7609438730439999</c:v>
                </c:pt>
                <c:pt idx="395">
                  <c:v>3.8508934072700001</c:v>
                </c:pt>
                <c:pt idx="396">
                  <c:v>2.7015553239929999</c:v>
                </c:pt>
                <c:pt idx="397">
                  <c:v>6.1859416743019997</c:v>
                </c:pt>
                <c:pt idx="398">
                  <c:v>5.4211875498550004</c:v>
                </c:pt>
                <c:pt idx="399">
                  <c:v>3.0982893569879999</c:v>
                </c:pt>
                <c:pt idx="400">
                  <c:v>5.035188219208</c:v>
                </c:pt>
                <c:pt idx="401">
                  <c:v>7.7560565106270003</c:v>
                </c:pt>
                <c:pt idx="402">
                  <c:v>6.6021981436169996</c:v>
                </c:pt>
                <c:pt idx="403">
                  <c:v>7.3860124473740001</c:v>
                </c:pt>
                <c:pt idx="404">
                  <c:v>3.5023134726210001</c:v>
                </c:pt>
                <c:pt idx="405">
                  <c:v>5.0622264450700003</c:v>
                </c:pt>
                <c:pt idx="406">
                  <c:v>6.6202986144100002</c:v>
                </c:pt>
                <c:pt idx="407">
                  <c:v>5.0629164735609997</c:v>
                </c:pt>
                <c:pt idx="408">
                  <c:v>7.796237535765</c:v>
                </c:pt>
                <c:pt idx="409">
                  <c:v>6.2439268055679999</c:v>
                </c:pt>
                <c:pt idx="410">
                  <c:v>8.2053686554910001</c:v>
                </c:pt>
                <c:pt idx="411">
                  <c:v>6.2605402063630002</c:v>
                </c:pt>
                <c:pt idx="412">
                  <c:v>10.188526934938</c:v>
                </c:pt>
                <c:pt idx="413">
                  <c:v>5.4869254405210004</c:v>
                </c:pt>
                <c:pt idx="414">
                  <c:v>6.2711651824899999</c:v>
                </c:pt>
                <c:pt idx="415">
                  <c:v>7.8474148653569999</c:v>
                </c:pt>
                <c:pt idx="416">
                  <c:v>7.0711634027999999</c:v>
                </c:pt>
                <c:pt idx="417">
                  <c:v>6.6859378994350003</c:v>
                </c:pt>
                <c:pt idx="418">
                  <c:v>8.2703213610580004</c:v>
                </c:pt>
                <c:pt idx="419">
                  <c:v>6.3090487531740003</c:v>
                </c:pt>
                <c:pt idx="420">
                  <c:v>6.7043160020189996</c:v>
                </c:pt>
                <c:pt idx="421">
                  <c:v>5.9157362528139998</c:v>
                </c:pt>
                <c:pt idx="422">
                  <c:v>7.1059176503090002</c:v>
                </c:pt>
                <c:pt idx="423">
                  <c:v>5.9269796111900002</c:v>
                </c:pt>
                <c:pt idx="424">
                  <c:v>7.1192393488260004</c:v>
                </c:pt>
                <c:pt idx="425">
                  <c:v>5.1465785150140002</c:v>
                </c:pt>
                <c:pt idx="426">
                  <c:v>4.3590597111919998</c:v>
                </c:pt>
                <c:pt idx="427">
                  <c:v>4.359491604015</c:v>
                </c:pt>
                <c:pt idx="428">
                  <c:v>5.152330636946</c:v>
                </c:pt>
                <c:pt idx="429">
                  <c:v>3.965861861099</c:v>
                </c:pt>
                <c:pt idx="430">
                  <c:v>5.5557760228579998</c:v>
                </c:pt>
                <c:pt idx="431">
                  <c:v>5.1619461331060004</c:v>
                </c:pt>
                <c:pt idx="432">
                  <c:v>5.1657818609530004</c:v>
                </c:pt>
                <c:pt idx="433">
                  <c:v>4.7718271326090003</c:v>
                </c:pt>
                <c:pt idx="434">
                  <c:v>1.9883561861729999</c:v>
                </c:pt>
                <c:pt idx="435">
                  <c:v>2.3860369119909999</c:v>
                </c:pt>
                <c:pt idx="436">
                  <c:v>6.7628314781950003</c:v>
                </c:pt>
                <c:pt idx="437">
                  <c:v>1.98995470863</c:v>
                </c:pt>
                <c:pt idx="438">
                  <c:v>2.3890295761860001</c:v>
                </c:pt>
                <c:pt idx="439">
                  <c:v>2.7884224699039999</c:v>
                </c:pt>
                <c:pt idx="440">
                  <c:v>2.789756015909</c:v>
                </c:pt>
                <c:pt idx="441">
                  <c:v>3.5868577531920001</c:v>
                </c:pt>
                <c:pt idx="442">
                  <c:v>3.5868720483029999</c:v>
                </c:pt>
                <c:pt idx="443">
                  <c:v>3.986477867074</c:v>
                </c:pt>
                <c:pt idx="444">
                  <c:v>3.189919853263</c:v>
                </c:pt>
                <c:pt idx="445">
                  <c:v>2.7919814293340002</c:v>
                </c:pt>
                <c:pt idx="446">
                  <c:v>1.9947816512000001</c:v>
                </c:pt>
                <c:pt idx="447">
                  <c:v>1.596360298519</c:v>
                </c:pt>
                <c:pt idx="448">
                  <c:v>2.3945500041900001</c:v>
                </c:pt>
                <c:pt idx="449">
                  <c:v>1.5963666694600001</c:v>
                </c:pt>
                <c:pt idx="450">
                  <c:v>5.5881085051010002</c:v>
                </c:pt>
                <c:pt idx="451">
                  <c:v>3.9920478407009998</c:v>
                </c:pt>
                <c:pt idx="452">
                  <c:v>3.5934455553069999</c:v>
                </c:pt>
                <c:pt idx="453">
                  <c:v>4.3926379388140004</c:v>
                </c:pt>
                <c:pt idx="454">
                  <c:v>2.7960073015729998</c:v>
                </c:pt>
                <c:pt idx="455">
                  <c:v>2.7960073015729998</c:v>
                </c:pt>
                <c:pt idx="456">
                  <c:v>1.198288843531</c:v>
                </c:pt>
                <c:pt idx="457">
                  <c:v>4.3939363678119996</c:v>
                </c:pt>
                <c:pt idx="458">
                  <c:v>3.5953835275500001</c:v>
                </c:pt>
                <c:pt idx="459">
                  <c:v>3.19638169592</c:v>
                </c:pt>
                <c:pt idx="460">
                  <c:v>1.1987724570039999</c:v>
                </c:pt>
                <c:pt idx="461">
                  <c:v>1.598631571374</c:v>
                </c:pt>
                <c:pt idx="462">
                  <c:v>1.598637960457</c:v>
                </c:pt>
                <c:pt idx="463">
                  <c:v>1.598637960457</c:v>
                </c:pt>
                <c:pt idx="464">
                  <c:v>1.199079107245</c:v>
                </c:pt>
                <c:pt idx="465">
                  <c:v>3.197761566903</c:v>
                </c:pt>
                <c:pt idx="466">
                  <c:v>2.7983433807179998</c:v>
                </c:pt>
                <c:pt idx="467">
                  <c:v>1.199438662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F0-41A2-ADBC-1FC75FE6D1E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C$2:$C$469</c:f>
              <c:numCache>
                <c:formatCode>General</c:formatCode>
                <c:ptCount val="4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5.1586278050030003</c:v>
                </c:pt>
                <c:pt idx="57">
                  <c:v>0</c:v>
                </c:pt>
                <c:pt idx="58">
                  <c:v>0</c:v>
                </c:pt>
                <c:pt idx="59">
                  <c:v>3.145940164218</c:v>
                </c:pt>
                <c:pt idx="60">
                  <c:v>0</c:v>
                </c:pt>
                <c:pt idx="61">
                  <c:v>2.036286627705</c:v>
                </c:pt>
                <c:pt idx="62">
                  <c:v>0</c:v>
                </c:pt>
                <c:pt idx="63">
                  <c:v>1.6490221298759999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.048360887751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.89371095600200001</c:v>
                </c:pt>
                <c:pt idx="77">
                  <c:v>2.6693953819449998</c:v>
                </c:pt>
                <c:pt idx="78">
                  <c:v>0</c:v>
                </c:pt>
                <c:pt idx="79">
                  <c:v>1.7339887810920001</c:v>
                </c:pt>
                <c:pt idx="80">
                  <c:v>0</c:v>
                </c:pt>
                <c:pt idx="81">
                  <c:v>0.82846609502500002</c:v>
                </c:pt>
                <c:pt idx="82">
                  <c:v>0</c:v>
                </c:pt>
                <c:pt idx="83">
                  <c:v>0.782846272477</c:v>
                </c:pt>
                <c:pt idx="84">
                  <c:v>0</c:v>
                </c:pt>
                <c:pt idx="85">
                  <c:v>1.5469220119260001</c:v>
                </c:pt>
                <c:pt idx="86">
                  <c:v>0.752909997138</c:v>
                </c:pt>
                <c:pt idx="87">
                  <c:v>2.1833902227780002</c:v>
                </c:pt>
                <c:pt idx="88">
                  <c:v>0</c:v>
                </c:pt>
                <c:pt idx="89">
                  <c:v>2.036397206063</c:v>
                </c:pt>
                <c:pt idx="90">
                  <c:v>0.65493889420100004</c:v>
                </c:pt>
                <c:pt idx="91">
                  <c:v>0</c:v>
                </c:pt>
                <c:pt idx="92">
                  <c:v>0.64719473442300002</c:v>
                </c:pt>
                <c:pt idx="93">
                  <c:v>0</c:v>
                </c:pt>
                <c:pt idx="94">
                  <c:v>1.188594249581</c:v>
                </c:pt>
                <c:pt idx="95">
                  <c:v>0</c:v>
                </c:pt>
                <c:pt idx="96">
                  <c:v>0.54252883540700003</c:v>
                </c:pt>
                <c:pt idx="97">
                  <c:v>0.51635556244000003</c:v>
                </c:pt>
                <c:pt idx="98">
                  <c:v>0</c:v>
                </c:pt>
                <c:pt idx="99">
                  <c:v>0.50908461495299995</c:v>
                </c:pt>
                <c:pt idx="100">
                  <c:v>0</c:v>
                </c:pt>
                <c:pt idx="101">
                  <c:v>0.94109232586199998</c:v>
                </c:pt>
                <c:pt idx="102">
                  <c:v>0</c:v>
                </c:pt>
                <c:pt idx="103">
                  <c:v>0.42683239145599999</c:v>
                </c:pt>
                <c:pt idx="104">
                  <c:v>0.40773223408699999</c:v>
                </c:pt>
                <c:pt idx="105">
                  <c:v>1.206796678895</c:v>
                </c:pt>
                <c:pt idx="106">
                  <c:v>0.39778671471900001</c:v>
                </c:pt>
                <c:pt idx="107">
                  <c:v>0.377896101245</c:v>
                </c:pt>
                <c:pt idx="108">
                  <c:v>0</c:v>
                </c:pt>
                <c:pt idx="109">
                  <c:v>0.67477293890599999</c:v>
                </c:pt>
                <c:pt idx="110">
                  <c:v>0.31451288244699999</c:v>
                </c:pt>
                <c:pt idx="111">
                  <c:v>0.61164885239300004</c:v>
                </c:pt>
                <c:pt idx="112">
                  <c:v>0.29905737116600001</c:v>
                </c:pt>
                <c:pt idx="113">
                  <c:v>0.58749919218799995</c:v>
                </c:pt>
                <c:pt idx="114">
                  <c:v>0.86876947491500001</c:v>
                </c:pt>
                <c:pt idx="115">
                  <c:v>0</c:v>
                </c:pt>
                <c:pt idx="116">
                  <c:v>0</c:v>
                </c:pt>
                <c:pt idx="117">
                  <c:v>0.99772767521899997</c:v>
                </c:pt>
                <c:pt idx="118">
                  <c:v>0.237601931228</c:v>
                </c:pt>
                <c:pt idx="119">
                  <c:v>0</c:v>
                </c:pt>
                <c:pt idx="120">
                  <c:v>0.682134444151</c:v>
                </c:pt>
                <c:pt idx="121">
                  <c:v>0.65521782716599997</c:v>
                </c:pt>
                <c:pt idx="122">
                  <c:v>0</c:v>
                </c:pt>
                <c:pt idx="123">
                  <c:v>0.20204591695499999</c:v>
                </c:pt>
                <c:pt idx="124">
                  <c:v>0</c:v>
                </c:pt>
                <c:pt idx="125">
                  <c:v>0.56751327035099997</c:v>
                </c:pt>
                <c:pt idx="126">
                  <c:v>0</c:v>
                </c:pt>
                <c:pt idx="127">
                  <c:v>0.37185987576099999</c:v>
                </c:pt>
                <c:pt idx="128">
                  <c:v>0.18230344042999999</c:v>
                </c:pt>
                <c:pt idx="129">
                  <c:v>0.35744093735299998</c:v>
                </c:pt>
                <c:pt idx="130">
                  <c:v>0.17574599782399999</c:v>
                </c:pt>
                <c:pt idx="131">
                  <c:v>0.51740730648099997</c:v>
                </c:pt>
                <c:pt idx="132">
                  <c:v>0.17045328642400001</c:v>
                </c:pt>
                <c:pt idx="133">
                  <c:v>0</c:v>
                </c:pt>
                <c:pt idx="134">
                  <c:v>0</c:v>
                </c:pt>
                <c:pt idx="135">
                  <c:v>0.16736961906600001</c:v>
                </c:pt>
                <c:pt idx="136">
                  <c:v>0.330529888991</c:v>
                </c:pt>
                <c:pt idx="137">
                  <c:v>0</c:v>
                </c:pt>
                <c:pt idx="138">
                  <c:v>0</c:v>
                </c:pt>
                <c:pt idx="139">
                  <c:v>0.15907988196200001</c:v>
                </c:pt>
                <c:pt idx="140">
                  <c:v>0</c:v>
                </c:pt>
                <c:pt idx="141">
                  <c:v>0</c:v>
                </c:pt>
                <c:pt idx="142">
                  <c:v>0.15741462224399999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.15160358694000001</c:v>
                </c:pt>
                <c:pt idx="147">
                  <c:v>0</c:v>
                </c:pt>
                <c:pt idx="148">
                  <c:v>0.151230334385</c:v>
                </c:pt>
                <c:pt idx="149">
                  <c:v>0</c:v>
                </c:pt>
                <c:pt idx="150">
                  <c:v>0.148859808298</c:v>
                </c:pt>
                <c:pt idx="151">
                  <c:v>0.14752939892</c:v>
                </c:pt>
                <c:pt idx="152">
                  <c:v>0.29248831509099998</c:v>
                </c:pt>
                <c:pt idx="153">
                  <c:v>0</c:v>
                </c:pt>
                <c:pt idx="154">
                  <c:v>0</c:v>
                </c:pt>
                <c:pt idx="155">
                  <c:v>0.28980509158500001</c:v>
                </c:pt>
                <c:pt idx="156">
                  <c:v>0.14405630872899999</c:v>
                </c:pt>
                <c:pt idx="157">
                  <c:v>0</c:v>
                </c:pt>
                <c:pt idx="158">
                  <c:v>0.14040132314199999</c:v>
                </c:pt>
                <c:pt idx="159">
                  <c:v>0.13684870281100001</c:v>
                </c:pt>
                <c:pt idx="160">
                  <c:v>0</c:v>
                </c:pt>
                <c:pt idx="161">
                  <c:v>0</c:v>
                </c:pt>
                <c:pt idx="162">
                  <c:v>0.131524260965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8">
                  <c:v>0</c:v>
                </c:pt>
                <c:pt idx="170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9.3163824859000002E-2</c:v>
                </c:pt>
                <c:pt idx="176">
                  <c:v>9.1348393638E-2</c:v>
                </c:pt>
                <c:pt idx="180">
                  <c:v>0</c:v>
                </c:pt>
                <c:pt idx="181">
                  <c:v>0</c:v>
                </c:pt>
                <c:pt idx="184">
                  <c:v>0</c:v>
                </c:pt>
                <c:pt idx="185">
                  <c:v>0</c:v>
                </c:pt>
                <c:pt idx="187">
                  <c:v>0</c:v>
                </c:pt>
                <c:pt idx="193">
                  <c:v>0</c:v>
                </c:pt>
                <c:pt idx="194">
                  <c:v>0</c:v>
                </c:pt>
                <c:pt idx="196">
                  <c:v>0</c:v>
                </c:pt>
                <c:pt idx="198">
                  <c:v>0</c:v>
                </c:pt>
                <c:pt idx="200">
                  <c:v>6.3820119164000003E-2</c:v>
                </c:pt>
                <c:pt idx="202">
                  <c:v>6.2657583823000004E-2</c:v>
                </c:pt>
                <c:pt idx="205">
                  <c:v>0</c:v>
                </c:pt>
                <c:pt idx="206">
                  <c:v>0</c:v>
                </c:pt>
                <c:pt idx="207">
                  <c:v>6.1821852912E-2</c:v>
                </c:pt>
                <c:pt idx="209">
                  <c:v>6.1025174103999998E-2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5.9457768930000002E-2</c:v>
                </c:pt>
                <c:pt idx="216">
                  <c:v>0</c:v>
                </c:pt>
                <c:pt idx="217">
                  <c:v>0.11829503728599999</c:v>
                </c:pt>
                <c:pt idx="219">
                  <c:v>0</c:v>
                </c:pt>
                <c:pt idx="221">
                  <c:v>0</c:v>
                </c:pt>
                <c:pt idx="223">
                  <c:v>5.8002722647000002E-2</c:v>
                </c:pt>
                <c:pt idx="224">
                  <c:v>0</c:v>
                </c:pt>
                <c:pt idx="225">
                  <c:v>5.7938770307000002E-2</c:v>
                </c:pt>
                <c:pt idx="227">
                  <c:v>0.115251455625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.17012270951</c:v>
                </c:pt>
                <c:pt idx="237">
                  <c:v>0.113230406893</c:v>
                </c:pt>
                <c:pt idx="240">
                  <c:v>0</c:v>
                </c:pt>
                <c:pt idx="241">
                  <c:v>5.6352568718999997E-2</c:v>
                </c:pt>
                <c:pt idx="242">
                  <c:v>0</c:v>
                </c:pt>
                <c:pt idx="243">
                  <c:v>0</c:v>
                </c:pt>
                <c:pt idx="244">
                  <c:v>5.6044167286999999E-2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5.5572474285999998E-2</c:v>
                </c:pt>
                <c:pt idx="253">
                  <c:v>0</c:v>
                </c:pt>
                <c:pt idx="254">
                  <c:v>0</c:v>
                </c:pt>
                <c:pt idx="255">
                  <c:v>5.5369605962000003E-2</c:v>
                </c:pt>
                <c:pt idx="257">
                  <c:v>5.5228571727999998E-2</c:v>
                </c:pt>
                <c:pt idx="258">
                  <c:v>5.5179446318000001E-2</c:v>
                </c:pt>
                <c:pt idx="259">
                  <c:v>5.5168822111999999E-2</c:v>
                </c:pt>
                <c:pt idx="260">
                  <c:v>5.5161670582E-2</c:v>
                </c:pt>
                <c:pt idx="261">
                  <c:v>0.165351205961</c:v>
                </c:pt>
                <c:pt idx="262">
                  <c:v>0.11014665476299999</c:v>
                </c:pt>
                <c:pt idx="263">
                  <c:v>5.5039074990999998E-2</c:v>
                </c:pt>
                <c:pt idx="264">
                  <c:v>5.5003776008999999E-2</c:v>
                </c:pt>
                <c:pt idx="265">
                  <c:v>0.16492551139200001</c:v>
                </c:pt>
                <c:pt idx="266">
                  <c:v>5.4969761133999998E-2</c:v>
                </c:pt>
                <c:pt idx="267">
                  <c:v>5.4965682176000001E-2</c:v>
                </c:pt>
                <c:pt idx="268">
                  <c:v>0.109878337211</c:v>
                </c:pt>
                <c:pt idx="269">
                  <c:v>0.10982294893199999</c:v>
                </c:pt>
                <c:pt idx="271">
                  <c:v>0.109721729236</c:v>
                </c:pt>
                <c:pt idx="272">
                  <c:v>5.4836707253000001E-2</c:v>
                </c:pt>
                <c:pt idx="273">
                  <c:v>0.109664093398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5.4757945240000001E-2</c:v>
                </c:pt>
                <c:pt idx="278">
                  <c:v>0.16420541002</c:v>
                </c:pt>
                <c:pt idx="279">
                  <c:v>5.4711299414999998E-2</c:v>
                </c:pt>
                <c:pt idx="280">
                  <c:v>5.4707079149999997E-2</c:v>
                </c:pt>
                <c:pt idx="281">
                  <c:v>0.16411486289800001</c:v>
                </c:pt>
                <c:pt idx="282">
                  <c:v>0.109377418266</c:v>
                </c:pt>
                <c:pt idx="283">
                  <c:v>0.27336460988900002</c:v>
                </c:pt>
                <c:pt idx="284">
                  <c:v>0.43727866183899999</c:v>
                </c:pt>
                <c:pt idx="285">
                  <c:v>0</c:v>
                </c:pt>
                <c:pt idx="286">
                  <c:v>5.4637762561000003E-2</c:v>
                </c:pt>
                <c:pt idx="287">
                  <c:v>0.109269913075</c:v>
                </c:pt>
                <c:pt idx="288">
                  <c:v>0.16390128771699999</c:v>
                </c:pt>
                <c:pt idx="289">
                  <c:v>0.43699155349899999</c:v>
                </c:pt>
                <c:pt idx="290">
                  <c:v>0.109246515855</c:v>
                </c:pt>
                <c:pt idx="291">
                  <c:v>0.163820915343</c:v>
                </c:pt>
                <c:pt idx="292">
                  <c:v>0.38215552091799998</c:v>
                </c:pt>
                <c:pt idx="293">
                  <c:v>0.10916702828200001</c:v>
                </c:pt>
                <c:pt idx="294">
                  <c:v>0.109163214834</c:v>
                </c:pt>
                <c:pt idx="295">
                  <c:v>0.109161963605</c:v>
                </c:pt>
                <c:pt idx="296">
                  <c:v>0.70953649801100005</c:v>
                </c:pt>
                <c:pt idx="297">
                  <c:v>0.163755905447</c:v>
                </c:pt>
                <c:pt idx="298">
                  <c:v>0.49136507770100002</c:v>
                </c:pt>
                <c:pt idx="299">
                  <c:v>0.38220601668699999</c:v>
                </c:pt>
                <c:pt idx="300">
                  <c:v>0.54613115230300002</c:v>
                </c:pt>
                <c:pt idx="301">
                  <c:v>0.27308630674200002</c:v>
                </c:pt>
                <c:pt idx="302">
                  <c:v>0.43695813777100001</c:v>
                </c:pt>
                <c:pt idx="303">
                  <c:v>0.32783553147</c:v>
                </c:pt>
                <c:pt idx="304">
                  <c:v>0.76543262525300004</c:v>
                </c:pt>
                <c:pt idx="305">
                  <c:v>0.766222713577</c:v>
                </c:pt>
                <c:pt idx="306">
                  <c:v>0.38348809817200002</c:v>
                </c:pt>
                <c:pt idx="307">
                  <c:v>0.93221175464100003</c:v>
                </c:pt>
                <c:pt idx="308">
                  <c:v>0.60338476914200001</c:v>
                </c:pt>
                <c:pt idx="309">
                  <c:v>0.658345544728</c:v>
                </c:pt>
                <c:pt idx="310">
                  <c:v>1.099909752404</c:v>
                </c:pt>
                <c:pt idx="311">
                  <c:v>0.99396826921899994</c:v>
                </c:pt>
                <c:pt idx="312">
                  <c:v>0.61098382281399999</c:v>
                </c:pt>
                <c:pt idx="313">
                  <c:v>0.83878027926900001</c:v>
                </c:pt>
                <c:pt idx="314">
                  <c:v>0.78812010274800004</c:v>
                </c:pt>
                <c:pt idx="315">
                  <c:v>1.1273976224310001</c:v>
                </c:pt>
                <c:pt idx="316">
                  <c:v>0.73351550849199998</c:v>
                </c:pt>
                <c:pt idx="317">
                  <c:v>1.4220033980190001</c:v>
                </c:pt>
                <c:pt idx="318">
                  <c:v>1.2057379345820001</c:v>
                </c:pt>
                <c:pt idx="319">
                  <c:v>1.102077938951</c:v>
                </c:pt>
                <c:pt idx="320">
                  <c:v>0.98777253806400001</c:v>
                </c:pt>
                <c:pt idx="321">
                  <c:v>1.4636239680709999</c:v>
                </c:pt>
                <c:pt idx="322">
                  <c:v>1.407358844839</c:v>
                </c:pt>
                <c:pt idx="323">
                  <c:v>1.2920738901810001</c:v>
                </c:pt>
                <c:pt idx="324">
                  <c:v>1.304615194853</c:v>
                </c:pt>
                <c:pt idx="325">
                  <c:v>1.4392432459010001</c:v>
                </c:pt>
                <c:pt idx="326">
                  <c:v>2.188618817379</c:v>
                </c:pt>
                <c:pt idx="327">
                  <c:v>1.6638740287130001</c:v>
                </c:pt>
                <c:pt idx="328">
                  <c:v>1.8709423936830001</c:v>
                </c:pt>
                <c:pt idx="329">
                  <c:v>2.189287005518</c:v>
                </c:pt>
                <c:pt idx="330">
                  <c:v>1.88048985507</c:v>
                </c:pt>
                <c:pt idx="331">
                  <c:v>2.3469785822340001</c:v>
                </c:pt>
                <c:pt idx="332">
                  <c:v>1.4142553077960001</c:v>
                </c:pt>
                <c:pt idx="333">
                  <c:v>1.955238082823</c:v>
                </c:pt>
                <c:pt idx="334">
                  <c:v>1.848711975956</c:v>
                </c:pt>
                <c:pt idx="335">
                  <c:v>2.2032255221639998</c:v>
                </c:pt>
                <c:pt idx="336">
                  <c:v>2.0081060547740002</c:v>
                </c:pt>
                <c:pt idx="337">
                  <c:v>1.0729052530780001</c:v>
                </c:pt>
                <c:pt idx="338">
                  <c:v>2.5081378906420002</c:v>
                </c:pt>
                <c:pt idx="339">
                  <c:v>1.578213517192</c:v>
                </c:pt>
                <c:pt idx="340">
                  <c:v>2.269050223707</c:v>
                </c:pt>
                <c:pt idx="341">
                  <c:v>1.879453260085</c:v>
                </c:pt>
                <c:pt idx="342">
                  <c:v>1.4071238458940001</c:v>
                </c:pt>
                <c:pt idx="343">
                  <c:v>1.7632529619120001</c:v>
                </c:pt>
                <c:pt idx="344">
                  <c:v>1.694958346398</c:v>
                </c:pt>
                <c:pt idx="345">
                  <c:v>2.641594837895</c:v>
                </c:pt>
                <c:pt idx="346">
                  <c:v>2.6789754728930002</c:v>
                </c:pt>
                <c:pt idx="347">
                  <c:v>2.2034002873229999</c:v>
                </c:pt>
                <c:pt idx="348">
                  <c:v>2.4642037075059999</c:v>
                </c:pt>
                <c:pt idx="349">
                  <c:v>1.667616702848</c:v>
                </c:pt>
                <c:pt idx="350">
                  <c:v>2.053687967214</c:v>
                </c:pt>
                <c:pt idx="351">
                  <c:v>1.29742369813</c:v>
                </c:pt>
                <c:pt idx="352">
                  <c:v>2.2573433715050002</c:v>
                </c:pt>
                <c:pt idx="353">
                  <c:v>2.078574929028</c:v>
                </c:pt>
                <c:pt idx="354">
                  <c:v>1.325109922008</c:v>
                </c:pt>
                <c:pt idx="355">
                  <c:v>1.4680179339970001</c:v>
                </c:pt>
                <c:pt idx="356">
                  <c:v>1.6173262362659999</c:v>
                </c:pt>
                <c:pt idx="357">
                  <c:v>1.3674702529630001</c:v>
                </c:pt>
                <c:pt idx="358">
                  <c:v>0.552739144894</c:v>
                </c:pt>
                <c:pt idx="359">
                  <c:v>2.9725660916500001</c:v>
                </c:pt>
                <c:pt idx="360">
                  <c:v>1.7127359041829999</c:v>
                </c:pt>
                <c:pt idx="361">
                  <c:v>2.128420371537</c:v>
                </c:pt>
                <c:pt idx="362">
                  <c:v>1.797770988695</c:v>
                </c:pt>
                <c:pt idx="363">
                  <c:v>0.70582256561699996</c:v>
                </c:pt>
                <c:pt idx="364">
                  <c:v>1.194821642999</c:v>
                </c:pt>
                <c:pt idx="365">
                  <c:v>0.72325929569000003</c:v>
                </c:pt>
                <c:pt idx="366">
                  <c:v>2.1317202480819999</c:v>
                </c:pt>
                <c:pt idx="367">
                  <c:v>1.579562566473</c:v>
                </c:pt>
                <c:pt idx="368">
                  <c:v>1.796818525475</c:v>
                </c:pt>
                <c:pt idx="369">
                  <c:v>1.3064248522649999</c:v>
                </c:pt>
                <c:pt idx="370">
                  <c:v>1.3598288428759999</c:v>
                </c:pt>
                <c:pt idx="371">
                  <c:v>2.1359795068020002</c:v>
                </c:pt>
                <c:pt idx="372">
                  <c:v>1.3799299915509999</c:v>
                </c:pt>
                <c:pt idx="373">
                  <c:v>1.5807352632</c:v>
                </c:pt>
                <c:pt idx="374">
                  <c:v>1.6327090398199999</c:v>
                </c:pt>
                <c:pt idx="375">
                  <c:v>0.83460192826400004</c:v>
                </c:pt>
                <c:pt idx="376">
                  <c:v>1.5120993146820001</c:v>
                </c:pt>
                <c:pt idx="377">
                  <c:v>1.1761207170300001</c:v>
                </c:pt>
                <c:pt idx="378">
                  <c:v>1.344144737505</c:v>
                </c:pt>
                <c:pt idx="379">
                  <c:v>0.84017657150799996</c:v>
                </c:pt>
                <c:pt idx="380">
                  <c:v>1.0207188923149999</c:v>
                </c:pt>
                <c:pt idx="381">
                  <c:v>1.5558767192430001</c:v>
                </c:pt>
                <c:pt idx="382">
                  <c:v>0.87738693114599997</c:v>
                </c:pt>
                <c:pt idx="383">
                  <c:v>1.2413262329470001</c:v>
                </c:pt>
                <c:pt idx="384">
                  <c:v>0.88862664529199997</c:v>
                </c:pt>
                <c:pt idx="385">
                  <c:v>0.53318167276799999</c:v>
                </c:pt>
                <c:pt idx="386">
                  <c:v>0.35588645086800003</c:v>
                </c:pt>
                <c:pt idx="387">
                  <c:v>1.2631161074370001</c:v>
                </c:pt>
                <c:pt idx="388">
                  <c:v>0.36907042232699999</c:v>
                </c:pt>
                <c:pt idx="389">
                  <c:v>0.94661292429499999</c:v>
                </c:pt>
                <c:pt idx="390">
                  <c:v>1.364025199391</c:v>
                </c:pt>
                <c:pt idx="391">
                  <c:v>0.79851157442499998</c:v>
                </c:pt>
                <c:pt idx="392">
                  <c:v>1.604109729126</c:v>
                </c:pt>
                <c:pt idx="393">
                  <c:v>1.2057829349560001</c:v>
                </c:pt>
                <c:pt idx="394">
                  <c:v>0.82275239472299999</c:v>
                </c:pt>
                <c:pt idx="395">
                  <c:v>0.63600689431400004</c:v>
                </c:pt>
                <c:pt idx="396">
                  <c:v>0.87499398441599996</c:v>
                </c:pt>
                <c:pt idx="397">
                  <c:v>2.7022949239640002</c:v>
                </c:pt>
                <c:pt idx="398">
                  <c:v>3.2285589096690002</c:v>
                </c:pt>
                <c:pt idx="399">
                  <c:v>1.3889210398380001</c:v>
                </c:pt>
                <c:pt idx="400">
                  <c:v>2.551357670192</c:v>
                </c:pt>
                <c:pt idx="401">
                  <c:v>1.8886187114890001</c:v>
                </c:pt>
                <c:pt idx="402">
                  <c:v>0.72518419678500001</c:v>
                </c:pt>
                <c:pt idx="403">
                  <c:v>1.4801548241939999</c:v>
                </c:pt>
                <c:pt idx="404">
                  <c:v>2.520078727259</c:v>
                </c:pt>
                <c:pt idx="405">
                  <c:v>2.0506826209770002</c:v>
                </c:pt>
                <c:pt idx="406">
                  <c:v>0.77048527731000005</c:v>
                </c:pt>
                <c:pt idx="407">
                  <c:v>0.77117848926099997</c:v>
                </c:pt>
                <c:pt idx="408">
                  <c:v>1.562174546969</c:v>
                </c:pt>
                <c:pt idx="409">
                  <c:v>2.908121855593</c:v>
                </c:pt>
                <c:pt idx="410">
                  <c:v>3.4884906642620002</c:v>
                </c:pt>
                <c:pt idx="411">
                  <c:v>3.2673776843539999</c:v>
                </c:pt>
                <c:pt idx="412">
                  <c:v>3.0370296745399998</c:v>
                </c:pt>
                <c:pt idx="413">
                  <c:v>1.106571095809</c:v>
                </c:pt>
                <c:pt idx="414">
                  <c:v>2.2143918864679999</c:v>
                </c:pt>
                <c:pt idx="415">
                  <c:v>3.3507198463129999</c:v>
                </c:pt>
                <c:pt idx="416">
                  <c:v>4.2290927750170004</c:v>
                </c:pt>
                <c:pt idx="417">
                  <c:v>1.7070429748060001</c:v>
                </c:pt>
                <c:pt idx="418">
                  <c:v>2.2964023985919999</c:v>
                </c:pt>
                <c:pt idx="419">
                  <c:v>2.8951185406279998</c:v>
                </c:pt>
                <c:pt idx="420">
                  <c:v>1.73871213592</c:v>
                </c:pt>
                <c:pt idx="421">
                  <c:v>1.7392968023019999</c:v>
                </c:pt>
                <c:pt idx="422">
                  <c:v>2.329963623442</c:v>
                </c:pt>
                <c:pt idx="423">
                  <c:v>3.8102049010950001</c:v>
                </c:pt>
                <c:pt idx="424">
                  <c:v>2.3579344494219998</c:v>
                </c:pt>
                <c:pt idx="425">
                  <c:v>3.5594683340789999</c:v>
                </c:pt>
                <c:pt idx="426">
                  <c:v>3.581159519766</c:v>
                </c:pt>
                <c:pt idx="427">
                  <c:v>1.1942865332249999</c:v>
                </c:pt>
                <c:pt idx="428">
                  <c:v>0.59732339387199995</c:v>
                </c:pt>
                <c:pt idx="429">
                  <c:v>1.1985306014820001</c:v>
                </c:pt>
                <c:pt idx="430">
                  <c:v>1.804788102836</c:v>
                </c:pt>
                <c:pt idx="431">
                  <c:v>0.60389937828499995</c:v>
                </c:pt>
                <c:pt idx="432">
                  <c:v>0.90919009346400004</c:v>
                </c:pt>
                <c:pt idx="433">
                  <c:v>1.5226494099729999</c:v>
                </c:pt>
                <c:pt idx="434">
                  <c:v>1.218583396801</c:v>
                </c:pt>
                <c:pt idx="435">
                  <c:v>1.828014319445</c:v>
                </c:pt>
                <c:pt idx="436">
                  <c:v>0.91598019040099998</c:v>
                </c:pt>
                <c:pt idx="437">
                  <c:v>1.8370702403800001</c:v>
                </c:pt>
                <c:pt idx="438">
                  <c:v>1.534844029149</c:v>
                </c:pt>
                <c:pt idx="439">
                  <c:v>1.847011996342</c:v>
                </c:pt>
                <c:pt idx="440">
                  <c:v>1.5447689489080001</c:v>
                </c:pt>
                <c:pt idx="441">
                  <c:v>0</c:v>
                </c:pt>
                <c:pt idx="442">
                  <c:v>1.2362773217280001</c:v>
                </c:pt>
                <c:pt idx="443">
                  <c:v>1.548481404286</c:v>
                </c:pt>
                <c:pt idx="444">
                  <c:v>1.86094405692</c:v>
                </c:pt>
                <c:pt idx="445">
                  <c:v>1.553253289013</c:v>
                </c:pt>
                <c:pt idx="446">
                  <c:v>0.62235305466400004</c:v>
                </c:pt>
                <c:pt idx="447">
                  <c:v>2.1837943739210002</c:v>
                </c:pt>
                <c:pt idx="448">
                  <c:v>0.62400743816799997</c:v>
                </c:pt>
                <c:pt idx="449">
                  <c:v>2.1841078075609999</c:v>
                </c:pt>
                <c:pt idx="450">
                  <c:v>1.2495158126220001</c:v>
                </c:pt>
                <c:pt idx="451">
                  <c:v>0.93806283770200005</c:v>
                </c:pt>
                <c:pt idx="452">
                  <c:v>0.93930228626099999</c:v>
                </c:pt>
                <c:pt idx="453">
                  <c:v>0.62704180487700001</c:v>
                </c:pt>
                <c:pt idx="454">
                  <c:v>1.8849786054919999</c:v>
                </c:pt>
                <c:pt idx="455">
                  <c:v>0.94264922137100005</c:v>
                </c:pt>
                <c:pt idx="456">
                  <c:v>0.942693652843</c:v>
                </c:pt>
                <c:pt idx="457">
                  <c:v>1.2582375237879999</c:v>
                </c:pt>
                <c:pt idx="458">
                  <c:v>0.629786376461</c:v>
                </c:pt>
                <c:pt idx="459">
                  <c:v>0.63052696290900001</c:v>
                </c:pt>
                <c:pt idx="460">
                  <c:v>0.94716702343199999</c:v>
                </c:pt>
                <c:pt idx="461">
                  <c:v>0.63278323377500001</c:v>
                </c:pt>
                <c:pt idx="462">
                  <c:v>0.63281727084799999</c:v>
                </c:pt>
                <c:pt idx="463">
                  <c:v>0.63281927314300002</c:v>
                </c:pt>
                <c:pt idx="464">
                  <c:v>0.31667215565000001</c:v>
                </c:pt>
                <c:pt idx="465">
                  <c:v>0.31698333301600001</c:v>
                </c:pt>
                <c:pt idx="466">
                  <c:v>1.2694382735630001</c:v>
                </c:pt>
                <c:pt idx="467">
                  <c:v>1.270954868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EF0-41A2-ADBC-1FC75FE6D1E6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D$2:$D$469</c:f>
              <c:numCache>
                <c:formatCode>General</c:formatCode>
                <c:ptCount val="4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2.4731661473009998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.98409699259899996</c:v>
                </c:pt>
                <c:pt idx="319">
                  <c:v>0</c:v>
                </c:pt>
                <c:pt idx="320">
                  <c:v>0.81235428394999998</c:v>
                </c:pt>
                <c:pt idx="321">
                  <c:v>0</c:v>
                </c:pt>
                <c:pt idx="322">
                  <c:v>0.71663011853000003</c:v>
                </c:pt>
                <c:pt idx="323">
                  <c:v>0</c:v>
                </c:pt>
                <c:pt idx="324">
                  <c:v>0</c:v>
                </c:pt>
                <c:pt idx="325">
                  <c:v>1.118499421176</c:v>
                </c:pt>
                <c:pt idx="326">
                  <c:v>0</c:v>
                </c:pt>
                <c:pt idx="327">
                  <c:v>0.44413256468700002</c:v>
                </c:pt>
                <c:pt idx="328">
                  <c:v>0.40771228559400002</c:v>
                </c:pt>
                <c:pt idx="329">
                  <c:v>1.199189348</c:v>
                </c:pt>
                <c:pt idx="330">
                  <c:v>0.39427978882300002</c:v>
                </c:pt>
                <c:pt idx="331">
                  <c:v>0.36611529702899998</c:v>
                </c:pt>
                <c:pt idx="332">
                  <c:v>0.33936843534099997</c:v>
                </c:pt>
                <c:pt idx="333">
                  <c:v>0.63173189298400001</c:v>
                </c:pt>
                <c:pt idx="334">
                  <c:v>0</c:v>
                </c:pt>
                <c:pt idx="335">
                  <c:v>0</c:v>
                </c:pt>
                <c:pt idx="336">
                  <c:v>0.27868815909700001</c:v>
                </c:pt>
                <c:pt idx="337">
                  <c:v>0.55309275642</c:v>
                </c:pt>
                <c:pt idx="338">
                  <c:v>0.52827876213699998</c:v>
                </c:pt>
                <c:pt idx="339">
                  <c:v>0.50328392762700003</c:v>
                </c:pt>
                <c:pt idx="340">
                  <c:v>0</c:v>
                </c:pt>
                <c:pt idx="341">
                  <c:v>0.476970663919</c:v>
                </c:pt>
                <c:pt idx="342">
                  <c:v>0</c:v>
                </c:pt>
                <c:pt idx="343">
                  <c:v>0</c:v>
                </c:pt>
                <c:pt idx="344">
                  <c:v>0.45319924678200002</c:v>
                </c:pt>
                <c:pt idx="345">
                  <c:v>0.43697031005199999</c:v>
                </c:pt>
                <c:pt idx="346">
                  <c:v>0.20905282346699999</c:v>
                </c:pt>
                <c:pt idx="347">
                  <c:v>0</c:v>
                </c:pt>
                <c:pt idx="348">
                  <c:v>0.38241502737999999</c:v>
                </c:pt>
                <c:pt idx="349">
                  <c:v>0.36749303600599997</c:v>
                </c:pt>
                <c:pt idx="350">
                  <c:v>0.72859744990800002</c:v>
                </c:pt>
                <c:pt idx="351">
                  <c:v>0.36131475212000003</c:v>
                </c:pt>
                <c:pt idx="352">
                  <c:v>0.17230714092400001</c:v>
                </c:pt>
                <c:pt idx="353">
                  <c:v>0.162521818554</c:v>
                </c:pt>
                <c:pt idx="354">
                  <c:v>0</c:v>
                </c:pt>
                <c:pt idx="355">
                  <c:v>0.14072733515899999</c:v>
                </c:pt>
                <c:pt idx="356">
                  <c:v>0.52849653306199995</c:v>
                </c:pt>
                <c:pt idx="357">
                  <c:v>0.25869573371900001</c:v>
                </c:pt>
                <c:pt idx="358">
                  <c:v>0.25489526353600001</c:v>
                </c:pt>
                <c:pt idx="359">
                  <c:v>0.84503913738400005</c:v>
                </c:pt>
                <c:pt idx="360">
                  <c:v>0.56826447483200004</c:v>
                </c:pt>
                <c:pt idx="361">
                  <c:v>0.10713841855099999</c:v>
                </c:pt>
                <c:pt idx="362">
                  <c:v>0</c:v>
                </c:pt>
                <c:pt idx="363">
                  <c:v>0.195003617317</c:v>
                </c:pt>
                <c:pt idx="364">
                  <c:v>9.6244816013000001E-2</c:v>
                </c:pt>
                <c:pt idx="365">
                  <c:v>0.28664821289100001</c:v>
                </c:pt>
                <c:pt idx="366">
                  <c:v>0.370437597934</c:v>
                </c:pt>
                <c:pt idx="367">
                  <c:v>0.26812143398400001</c:v>
                </c:pt>
                <c:pt idx="368">
                  <c:v>0.25941189593699998</c:v>
                </c:pt>
                <c:pt idx="369">
                  <c:v>8.3848090737000003E-2</c:v>
                </c:pt>
                <c:pt idx="370">
                  <c:v>0.40945178500500001</c:v>
                </c:pt>
                <c:pt idx="371">
                  <c:v>0</c:v>
                </c:pt>
                <c:pt idx="372">
                  <c:v>0.16243549280399999</c:v>
                </c:pt>
                <c:pt idx="373">
                  <c:v>7.9853963072000003E-2</c:v>
                </c:pt>
                <c:pt idx="374">
                  <c:v>0.39253184610800002</c:v>
                </c:pt>
                <c:pt idx="375">
                  <c:v>0.23280574378300001</c:v>
                </c:pt>
                <c:pt idx="376">
                  <c:v>0.154673538296</c:v>
                </c:pt>
                <c:pt idx="377">
                  <c:v>0.154670189022</c:v>
                </c:pt>
                <c:pt idx="378">
                  <c:v>0.15466983018</c:v>
                </c:pt>
                <c:pt idx="379">
                  <c:v>7.7330968035999995E-2</c:v>
                </c:pt>
                <c:pt idx="380">
                  <c:v>0.46103876644399999</c:v>
                </c:pt>
                <c:pt idx="381">
                  <c:v>0.22869915160199999</c:v>
                </c:pt>
                <c:pt idx="382">
                  <c:v>0.151368599189</c:v>
                </c:pt>
                <c:pt idx="383">
                  <c:v>7.5307782907999998E-2</c:v>
                </c:pt>
                <c:pt idx="384">
                  <c:v>0.225691009448</c:v>
                </c:pt>
                <c:pt idx="385">
                  <c:v>0.150459767434</c:v>
                </c:pt>
                <c:pt idx="386">
                  <c:v>0</c:v>
                </c:pt>
                <c:pt idx="387">
                  <c:v>0.29879622470900002</c:v>
                </c:pt>
                <c:pt idx="388">
                  <c:v>0.29584857877999998</c:v>
                </c:pt>
                <c:pt idx="389">
                  <c:v>0.58528177293500006</c:v>
                </c:pt>
                <c:pt idx="390">
                  <c:v>0.28922652872400001</c:v>
                </c:pt>
                <c:pt idx="391">
                  <c:v>0.50134180553200003</c:v>
                </c:pt>
                <c:pt idx="392">
                  <c:v>0.57200098098100005</c:v>
                </c:pt>
                <c:pt idx="393">
                  <c:v>0.50008858712100002</c:v>
                </c:pt>
                <c:pt idx="394">
                  <c:v>0.35416508767999999</c:v>
                </c:pt>
                <c:pt idx="395">
                  <c:v>0.21023935750799999</c:v>
                </c:pt>
                <c:pt idx="396">
                  <c:v>0.485415685722</c:v>
                </c:pt>
                <c:pt idx="397">
                  <c:v>0.61830130647000003</c:v>
                </c:pt>
                <c:pt idx="398">
                  <c:v>0.54553773995900001</c:v>
                </c:pt>
                <c:pt idx="399">
                  <c:v>0.34057115144299999</c:v>
                </c:pt>
                <c:pt idx="400">
                  <c:v>0.81688612539299998</c:v>
                </c:pt>
                <c:pt idx="401">
                  <c:v>0.54168723385299999</c:v>
                </c:pt>
                <c:pt idx="402">
                  <c:v>0.53794459439599995</c:v>
                </c:pt>
                <c:pt idx="403">
                  <c:v>0.80229188047099997</c:v>
                </c:pt>
                <c:pt idx="404">
                  <c:v>0.465259721269</c:v>
                </c:pt>
                <c:pt idx="405">
                  <c:v>0.79396375819999998</c:v>
                </c:pt>
                <c:pt idx="406">
                  <c:v>1.2564716556519999</c:v>
                </c:pt>
                <c:pt idx="407">
                  <c:v>0.59502637289100002</c:v>
                </c:pt>
                <c:pt idx="408">
                  <c:v>0.79066592519699996</c:v>
                </c:pt>
                <c:pt idx="409">
                  <c:v>0.91874247779499996</c:v>
                </c:pt>
                <c:pt idx="410">
                  <c:v>1.242042755033</c:v>
                </c:pt>
                <c:pt idx="411">
                  <c:v>0.71638602786700001</c:v>
                </c:pt>
                <c:pt idx="412">
                  <c:v>0.90853870634400002</c:v>
                </c:pt>
                <c:pt idx="413">
                  <c:v>0.45404659296400002</c:v>
                </c:pt>
                <c:pt idx="414">
                  <c:v>0.389127265369</c:v>
                </c:pt>
                <c:pt idx="415">
                  <c:v>0.90595653479299998</c:v>
                </c:pt>
                <c:pt idx="416">
                  <c:v>0.90376223306699999</c:v>
                </c:pt>
                <c:pt idx="417">
                  <c:v>0.90173009801100001</c:v>
                </c:pt>
                <c:pt idx="418">
                  <c:v>0.96399169681800001</c:v>
                </c:pt>
                <c:pt idx="419">
                  <c:v>0.76957214354000003</c:v>
                </c:pt>
                <c:pt idx="420">
                  <c:v>0.89762577981199998</c:v>
                </c:pt>
                <c:pt idx="421">
                  <c:v>0.25644428459399998</c:v>
                </c:pt>
                <c:pt idx="422">
                  <c:v>1.024552110641</c:v>
                </c:pt>
                <c:pt idx="423">
                  <c:v>0.44755573827099998</c:v>
                </c:pt>
                <c:pt idx="424">
                  <c:v>1.085426930336</c:v>
                </c:pt>
                <c:pt idx="425">
                  <c:v>0.76501485084999998</c:v>
                </c:pt>
                <c:pt idx="426">
                  <c:v>0.572925088134</c:v>
                </c:pt>
                <c:pt idx="427">
                  <c:v>0.70015976372699995</c:v>
                </c:pt>
                <c:pt idx="428">
                  <c:v>0.70011029919500001</c:v>
                </c:pt>
                <c:pt idx="429">
                  <c:v>0.44517169954399999</c:v>
                </c:pt>
                <c:pt idx="430">
                  <c:v>0.57183448314399998</c:v>
                </c:pt>
                <c:pt idx="431">
                  <c:v>0.38088055776099999</c:v>
                </c:pt>
                <c:pt idx="432">
                  <c:v>0.44396496228499999</c:v>
                </c:pt>
                <c:pt idx="433">
                  <c:v>0.69687735592</c:v>
                </c:pt>
                <c:pt idx="434">
                  <c:v>0.31673494416199999</c:v>
                </c:pt>
                <c:pt idx="435">
                  <c:v>0.38007567306599999</c:v>
                </c:pt>
                <c:pt idx="436">
                  <c:v>0.37988412267900001</c:v>
                </c:pt>
                <c:pt idx="437">
                  <c:v>0.253091993244</c:v>
                </c:pt>
                <c:pt idx="438">
                  <c:v>1.0749914000680001</c:v>
                </c:pt>
                <c:pt idx="439">
                  <c:v>0.56874373986899995</c:v>
                </c:pt>
                <c:pt idx="440">
                  <c:v>0.44199425281100002</c:v>
                </c:pt>
                <c:pt idx="441">
                  <c:v>0.25255251671700002</c:v>
                </c:pt>
                <c:pt idx="442">
                  <c:v>0.37882255635700002</c:v>
                </c:pt>
                <c:pt idx="443">
                  <c:v>0.31554162404199998</c:v>
                </c:pt>
                <c:pt idx="444">
                  <c:v>0.567782148298</c:v>
                </c:pt>
                <c:pt idx="445">
                  <c:v>0.37838202584399999</c:v>
                </c:pt>
                <c:pt idx="446">
                  <c:v>1.0716714986439999</c:v>
                </c:pt>
                <c:pt idx="447">
                  <c:v>0.44102572502999998</c:v>
                </c:pt>
                <c:pt idx="448">
                  <c:v>0.315011428614</c:v>
                </c:pt>
                <c:pt idx="449">
                  <c:v>0.75602171294300002</c:v>
                </c:pt>
                <c:pt idx="450">
                  <c:v>0.50388431823799995</c:v>
                </c:pt>
                <c:pt idx="451">
                  <c:v>0.56674491944600003</c:v>
                </c:pt>
                <c:pt idx="452">
                  <c:v>0.37771958098300001</c:v>
                </c:pt>
                <c:pt idx="453">
                  <c:v>0.62934840412899995</c:v>
                </c:pt>
                <c:pt idx="454">
                  <c:v>0.75487887653800001</c:v>
                </c:pt>
                <c:pt idx="455">
                  <c:v>0.377426617257</c:v>
                </c:pt>
                <c:pt idx="456">
                  <c:v>0.377423056019</c:v>
                </c:pt>
                <c:pt idx="457">
                  <c:v>1.257804678027</c:v>
                </c:pt>
                <c:pt idx="458">
                  <c:v>0.75451150724299998</c:v>
                </c:pt>
                <c:pt idx="459">
                  <c:v>0.377158288304</c:v>
                </c:pt>
                <c:pt idx="460">
                  <c:v>0.37704262843899999</c:v>
                </c:pt>
                <c:pt idx="461">
                  <c:v>0.81656034632200003</c:v>
                </c:pt>
                <c:pt idx="462">
                  <c:v>0.56530461753299999</c:v>
                </c:pt>
                <c:pt idx="463">
                  <c:v>0.31405792358700002</c:v>
                </c:pt>
                <c:pt idx="464">
                  <c:v>0.50240337213099995</c:v>
                </c:pt>
                <c:pt idx="465">
                  <c:v>0.56508774870900003</c:v>
                </c:pt>
                <c:pt idx="466">
                  <c:v>0.56494550786700004</c:v>
                </c:pt>
                <c:pt idx="467">
                  <c:v>0.313778451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EF0-41A2-ADBC-1FC75FE6D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  <c:min val="44197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hospitalizovaných na JIP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B$2:$B$469</c:f>
              <c:numCache>
                <c:formatCode>General</c:formatCode>
                <c:ptCount val="468"/>
                <c:pt idx="1">
                  <c:v>1.5752978471229999</c:v>
                </c:pt>
                <c:pt idx="2">
                  <c:v>1.80695929523</c:v>
                </c:pt>
                <c:pt idx="3">
                  <c:v>2.0386207433360002</c:v>
                </c:pt>
                <c:pt idx="4">
                  <c:v>1.760627005608</c:v>
                </c:pt>
                <c:pt idx="5">
                  <c:v>2.2239499018209998</c:v>
                </c:pt>
                <c:pt idx="6">
                  <c:v>1.9922884537150001</c:v>
                </c:pt>
                <c:pt idx="7">
                  <c:v>1.7142947159869999</c:v>
                </c:pt>
                <c:pt idx="8">
                  <c:v>1.9922884537150001</c:v>
                </c:pt>
                <c:pt idx="9">
                  <c:v>2.270282191443</c:v>
                </c:pt>
                <c:pt idx="10">
                  <c:v>2.409279060307</c:v>
                </c:pt>
                <c:pt idx="11">
                  <c:v>2.5019436395489998</c:v>
                </c:pt>
                <c:pt idx="12">
                  <c:v>2.6409405084130002</c:v>
                </c:pt>
                <c:pt idx="13">
                  <c:v>1.667962426366</c:v>
                </c:pt>
                <c:pt idx="14">
                  <c:v>1.389968688638</c:v>
                </c:pt>
                <c:pt idx="15">
                  <c:v>2.3629467706849998</c:v>
                </c:pt>
                <c:pt idx="16">
                  <c:v>2.8262696668979999</c:v>
                </c:pt>
                <c:pt idx="17">
                  <c:v>2.6409405084130002</c:v>
                </c:pt>
                <c:pt idx="18">
                  <c:v>2.6872727980339999</c:v>
                </c:pt>
                <c:pt idx="19">
                  <c:v>2.6872727980339999</c:v>
                </c:pt>
                <c:pt idx="20">
                  <c:v>3.0115988253829999</c:v>
                </c:pt>
                <c:pt idx="21">
                  <c:v>1.8069601324360001</c:v>
                </c:pt>
                <c:pt idx="22">
                  <c:v>1.7142955102599999</c:v>
                </c:pt>
                <c:pt idx="23">
                  <c:v>2.0386226324169998</c:v>
                </c:pt>
                <c:pt idx="24">
                  <c:v>2.0849549649719998</c:v>
                </c:pt>
                <c:pt idx="25">
                  <c:v>1.7606302685699999</c:v>
                </c:pt>
                <c:pt idx="26">
                  <c:v>2.177621647968</c:v>
                </c:pt>
                <c:pt idx="27">
                  <c:v>1.714297893081</c:v>
                </c:pt>
                <c:pt idx="28">
                  <c:v>1.8996282751789999</c:v>
                </c:pt>
                <c:pt idx="29">
                  <c:v>1.5753014964900001</c:v>
                </c:pt>
                <c:pt idx="30">
                  <c:v>1.714298687356</c:v>
                </c:pt>
                <c:pt idx="31">
                  <c:v>2.4556181763930001</c:v>
                </c:pt>
                <c:pt idx="32">
                  <c:v>1.48263738952</c:v>
                </c:pt>
                <c:pt idx="33">
                  <c:v>2.0386282996820002</c:v>
                </c:pt>
                <c:pt idx="34">
                  <c:v>1.2973089179790001</c:v>
                </c:pt>
                <c:pt idx="35">
                  <c:v>1.9459633769689999</c:v>
                </c:pt>
                <c:pt idx="36">
                  <c:v>1.390009262095</c:v>
                </c:pt>
                <c:pt idx="37">
                  <c:v>2.0389532755320001</c:v>
                </c:pt>
                <c:pt idx="38">
                  <c:v>1.807766722073</c:v>
                </c:pt>
                <c:pt idx="39">
                  <c:v>1.6226909687040001</c:v>
                </c:pt>
                <c:pt idx="40">
                  <c:v>2.3183760980980002</c:v>
                </c:pt>
                <c:pt idx="41">
                  <c:v>2.1330959104840002</c:v>
                </c:pt>
                <c:pt idx="42">
                  <c:v>1.901313483002</c:v>
                </c:pt>
                <c:pt idx="43">
                  <c:v>2.5042595600099999</c:v>
                </c:pt>
                <c:pt idx="44">
                  <c:v>1.5305838481659999</c:v>
                </c:pt>
                <c:pt idx="45">
                  <c:v>1.6699981583629999</c:v>
                </c:pt>
                <c:pt idx="46">
                  <c:v>1.995066155001</c:v>
                </c:pt>
                <c:pt idx="47">
                  <c:v>2.3207930056860002</c:v>
                </c:pt>
                <c:pt idx="48">
                  <c:v>2.1363770203849999</c:v>
                </c:pt>
                <c:pt idx="49">
                  <c:v>1.857958169</c:v>
                </c:pt>
                <c:pt idx="50">
                  <c:v>1.718861203351</c:v>
                </c:pt>
                <c:pt idx="51">
                  <c:v>1.4410333789809999</c:v>
                </c:pt>
                <c:pt idx="52">
                  <c:v>2.2334587947790001</c:v>
                </c:pt>
                <c:pt idx="53">
                  <c:v>2.0498180320619999</c:v>
                </c:pt>
                <c:pt idx="54">
                  <c:v>2.473077287398</c:v>
                </c:pt>
                <c:pt idx="55">
                  <c:v>2.4763901893829998</c:v>
                </c:pt>
                <c:pt idx="56">
                  <c:v>1.8701131605470001</c:v>
                </c:pt>
                <c:pt idx="57">
                  <c:v>1.965095229918</c:v>
                </c:pt>
                <c:pt idx="58">
                  <c:v>1.359910039606</c:v>
                </c:pt>
                <c:pt idx="59">
                  <c:v>2.2101827350869998</c:v>
                </c:pt>
                <c:pt idx="60">
                  <c:v>1.415693338171</c:v>
                </c:pt>
                <c:pt idx="61">
                  <c:v>2.5127927225720001</c:v>
                </c:pt>
                <c:pt idx="62">
                  <c:v>2.5238431750510002</c:v>
                </c:pt>
                <c:pt idx="63">
                  <c:v>2.478936193135</c:v>
                </c:pt>
                <c:pt idx="64">
                  <c:v>2.1941906417760002</c:v>
                </c:pt>
                <c:pt idx="65">
                  <c:v>3.1572074022160002</c:v>
                </c:pt>
                <c:pt idx="66">
                  <c:v>2.3986901232969999</c:v>
                </c:pt>
                <c:pt idx="67">
                  <c:v>2.6934148411960002</c:v>
                </c:pt>
                <c:pt idx="68">
                  <c:v>2.748175958474</c:v>
                </c:pt>
                <c:pt idx="69">
                  <c:v>3.189741790402</c:v>
                </c:pt>
                <c:pt idx="70">
                  <c:v>2.2726525433389999</c:v>
                </c:pt>
                <c:pt idx="71">
                  <c:v>2.854161536835</c:v>
                </c:pt>
                <c:pt idx="72">
                  <c:v>3.5871239700339999</c:v>
                </c:pt>
                <c:pt idx="73">
                  <c:v>2.6724780917530002</c:v>
                </c:pt>
                <c:pt idx="74">
                  <c:v>1.947662415568</c:v>
                </c:pt>
                <c:pt idx="75">
                  <c:v>2.731747293862</c:v>
                </c:pt>
                <c:pt idx="76">
                  <c:v>3.3228646807329998</c:v>
                </c:pt>
                <c:pt idx="77">
                  <c:v>2.2972381820529999</c:v>
                </c:pt>
                <c:pt idx="78">
                  <c:v>2.4933388740860001</c:v>
                </c:pt>
                <c:pt idx="79">
                  <c:v>2.6432015632080001</c:v>
                </c:pt>
                <c:pt idx="80">
                  <c:v>1.9112615943739999</c:v>
                </c:pt>
                <c:pt idx="81">
                  <c:v>2.6010827374969998</c:v>
                </c:pt>
                <c:pt idx="82">
                  <c:v>2.6052854852170002</c:v>
                </c:pt>
                <c:pt idx="83">
                  <c:v>2.610092983331</c:v>
                </c:pt>
                <c:pt idx="84">
                  <c:v>2.364761506412</c:v>
                </c:pt>
                <c:pt idx="85">
                  <c:v>1.8235323398529999</c:v>
                </c:pt>
                <c:pt idx="86">
                  <c:v>2.8141199703769999</c:v>
                </c:pt>
                <c:pt idx="87">
                  <c:v>2.3256769080569999</c:v>
                </c:pt>
                <c:pt idx="88">
                  <c:v>2.3309341243300001</c:v>
                </c:pt>
                <c:pt idx="89">
                  <c:v>2.2874214693399999</c:v>
                </c:pt>
                <c:pt idx="90">
                  <c:v>3.041436834592</c:v>
                </c:pt>
                <c:pt idx="91">
                  <c:v>1.995454354979</c:v>
                </c:pt>
                <c:pt idx="92">
                  <c:v>1.3973422550300001</c:v>
                </c:pt>
                <c:pt idx="93">
                  <c:v>2.5028469884489999</c:v>
                </c:pt>
                <c:pt idx="94">
                  <c:v>2.3617508915599998</c:v>
                </c:pt>
                <c:pt idx="95">
                  <c:v>2.1686624244930002</c:v>
                </c:pt>
                <c:pt idx="96">
                  <c:v>2.3303091661690001</c:v>
                </c:pt>
                <c:pt idx="97">
                  <c:v>1.374294783177</c:v>
                </c:pt>
                <c:pt idx="98">
                  <c:v>1.171609756147</c:v>
                </c:pt>
                <c:pt idx="99">
                  <c:v>1.4781755032670001</c:v>
                </c:pt>
                <c:pt idx="100">
                  <c:v>1.5863439326690001</c:v>
                </c:pt>
                <c:pt idx="101">
                  <c:v>2.6210433808369999</c:v>
                </c:pt>
                <c:pt idx="102">
                  <c:v>2.0146064130600001</c:v>
                </c:pt>
                <c:pt idx="103">
                  <c:v>1.8191069640090001</c:v>
                </c:pt>
                <c:pt idx="104">
                  <c:v>1.3590891175640001</c:v>
                </c:pt>
                <c:pt idx="105">
                  <c:v>1.3090979163350001</c:v>
                </c:pt>
                <c:pt idx="106">
                  <c:v>1.8354272061700001</c:v>
                </c:pt>
                <c:pt idx="107">
                  <c:v>1.4786032902090001</c:v>
                </c:pt>
                <c:pt idx="108">
                  <c:v>1.2234406982329999</c:v>
                </c:pt>
                <c:pt idx="109">
                  <c:v>0.80562822620499996</c:v>
                </c:pt>
                <c:pt idx="110">
                  <c:v>1.847478680639</c:v>
                </c:pt>
                <c:pt idx="111">
                  <c:v>1.146719481289</c:v>
                </c:pt>
                <c:pt idx="112">
                  <c:v>1.151371969355</c:v>
                </c:pt>
                <c:pt idx="113">
                  <c:v>1.375236609458</c:v>
                </c:pt>
                <c:pt idx="114">
                  <c:v>1.1031573466410001</c:v>
                </c:pt>
                <c:pt idx="115">
                  <c:v>1.1145060202820001</c:v>
                </c:pt>
                <c:pt idx="116">
                  <c:v>1.4608095694259999</c:v>
                </c:pt>
                <c:pt idx="117">
                  <c:v>1.138053257478</c:v>
                </c:pt>
                <c:pt idx="118">
                  <c:v>1.0360159431339999</c:v>
                </c:pt>
                <c:pt idx="119">
                  <c:v>1.042868258508</c:v>
                </c:pt>
                <c:pt idx="120">
                  <c:v>0.98923364651300005</c:v>
                </c:pt>
                <c:pt idx="121">
                  <c:v>1.058550796912</c:v>
                </c:pt>
                <c:pt idx="122">
                  <c:v>1.366681145564</c:v>
                </c:pt>
                <c:pt idx="123">
                  <c:v>0.90178318607200003</c:v>
                </c:pt>
                <c:pt idx="124">
                  <c:v>0.97263787293799997</c:v>
                </c:pt>
                <c:pt idx="125">
                  <c:v>0.73633635844800005</c:v>
                </c:pt>
                <c:pt idx="126">
                  <c:v>0.49259870446499998</c:v>
                </c:pt>
                <c:pt idx="127">
                  <c:v>0.92565394365599996</c:v>
                </c:pt>
                <c:pt idx="128">
                  <c:v>1.1802891708459999</c:v>
                </c:pt>
                <c:pt idx="129">
                  <c:v>1.000764959716</c:v>
                </c:pt>
                <c:pt idx="130">
                  <c:v>0.94380936560899997</c:v>
                </c:pt>
                <c:pt idx="131">
                  <c:v>0.57016443542299999</c:v>
                </c:pt>
                <c:pt idx="132">
                  <c:v>0.57265204707100004</c:v>
                </c:pt>
                <c:pt idx="133">
                  <c:v>0.44644166856900003</c:v>
                </c:pt>
                <c:pt idx="134">
                  <c:v>0.38323108514999998</c:v>
                </c:pt>
                <c:pt idx="135">
                  <c:v>0.896961542773</c:v>
                </c:pt>
                <c:pt idx="136">
                  <c:v>0.25753117736800002</c:v>
                </c:pt>
                <c:pt idx="137">
                  <c:v>0.64743315414500002</c:v>
                </c:pt>
                <c:pt idx="138">
                  <c:v>0.26059022382699998</c:v>
                </c:pt>
                <c:pt idx="139">
                  <c:v>0.39223889963899999</c:v>
                </c:pt>
                <c:pt idx="140">
                  <c:v>0.32733138505600001</c:v>
                </c:pt>
                <c:pt idx="141">
                  <c:v>0.26209314135</c:v>
                </c:pt>
                <c:pt idx="142">
                  <c:v>0.26263400900299999</c:v>
                </c:pt>
                <c:pt idx="143">
                  <c:v>0.32949689119600001</c:v>
                </c:pt>
                <c:pt idx="144">
                  <c:v>0.52935400284199996</c:v>
                </c:pt>
                <c:pt idx="145">
                  <c:v>0.332367694391</c:v>
                </c:pt>
                <c:pt idx="146">
                  <c:v>0.13345032478400001</c:v>
                </c:pt>
                <c:pt idx="147">
                  <c:v>0.20031516252199999</c:v>
                </c:pt>
                <c:pt idx="148">
                  <c:v>0.200393572977</c:v>
                </c:pt>
                <c:pt idx="150">
                  <c:v>0.20181254574400001</c:v>
                </c:pt>
                <c:pt idx="151">
                  <c:v>0.33773104180500002</c:v>
                </c:pt>
                <c:pt idx="152">
                  <c:v>6.7818863952E-2</c:v>
                </c:pt>
                <c:pt idx="153">
                  <c:v>0.27206497999899998</c:v>
                </c:pt>
                <c:pt idx="154">
                  <c:v>6.8071156140000005E-2</c:v>
                </c:pt>
                <c:pt idx="155">
                  <c:v>0.136223264481</c:v>
                </c:pt>
                <c:pt idx="156">
                  <c:v>0.13660073177000001</c:v>
                </c:pt>
                <c:pt idx="157">
                  <c:v>0.20610340895000001</c:v>
                </c:pt>
                <c:pt idx="158">
                  <c:v>6.9153949830999997E-2</c:v>
                </c:pt>
                <c:pt idx="159">
                  <c:v>7.0049546042999997E-2</c:v>
                </c:pt>
                <c:pt idx="160">
                  <c:v>0.212645006173</c:v>
                </c:pt>
                <c:pt idx="164">
                  <c:v>0.147718888001</c:v>
                </c:pt>
                <c:pt idx="165">
                  <c:v>7.5197355458999998E-2</c:v>
                </c:pt>
                <c:pt idx="166">
                  <c:v>7.6896813703E-2</c:v>
                </c:pt>
                <c:pt idx="169">
                  <c:v>7.9554051806999995E-2</c:v>
                </c:pt>
                <c:pt idx="170">
                  <c:v>0.16290969752500001</c:v>
                </c:pt>
                <c:pt idx="172">
                  <c:v>8.6205633192999995E-2</c:v>
                </c:pt>
                <c:pt idx="174">
                  <c:v>9.2171335452E-2</c:v>
                </c:pt>
                <c:pt idx="177">
                  <c:v>9.7305228987999995E-2</c:v>
                </c:pt>
                <c:pt idx="180">
                  <c:v>0.21782434862300001</c:v>
                </c:pt>
                <c:pt idx="181">
                  <c:v>0</c:v>
                </c:pt>
                <c:pt idx="194">
                  <c:v>0.15112177695000001</c:v>
                </c:pt>
                <c:pt idx="200">
                  <c:v>0.169085719696</c:v>
                </c:pt>
                <c:pt idx="202">
                  <c:v>0</c:v>
                </c:pt>
                <c:pt idx="205">
                  <c:v>0.18005657377500001</c:v>
                </c:pt>
                <c:pt idx="209">
                  <c:v>0</c:v>
                </c:pt>
                <c:pt idx="213">
                  <c:v>0.20127001378600001</c:v>
                </c:pt>
                <c:pt idx="216">
                  <c:v>0.213124641684</c:v>
                </c:pt>
                <c:pt idx="217">
                  <c:v>0.21384290672299999</c:v>
                </c:pt>
                <c:pt idx="219">
                  <c:v>0.21732941271</c:v>
                </c:pt>
                <c:pt idx="220">
                  <c:v>0.221078998158</c:v>
                </c:pt>
                <c:pt idx="223">
                  <c:v>0</c:v>
                </c:pt>
                <c:pt idx="225">
                  <c:v>0.23128820591999999</c:v>
                </c:pt>
                <c:pt idx="227">
                  <c:v>0</c:v>
                </c:pt>
                <c:pt idx="228">
                  <c:v>0.23925276576099999</c:v>
                </c:pt>
                <c:pt idx="230">
                  <c:v>0.24384891121400001</c:v>
                </c:pt>
                <c:pt idx="233">
                  <c:v>0.24652401143800001</c:v>
                </c:pt>
                <c:pt idx="234">
                  <c:v>0.24878530574400001</c:v>
                </c:pt>
                <c:pt idx="239">
                  <c:v>0.25612523499399997</c:v>
                </c:pt>
                <c:pt idx="241">
                  <c:v>0</c:v>
                </c:pt>
                <c:pt idx="244">
                  <c:v>0.26737253014599999</c:v>
                </c:pt>
                <c:pt idx="253">
                  <c:v>0.27966630216799998</c:v>
                </c:pt>
                <c:pt idx="254">
                  <c:v>0.28174490253000001</c:v>
                </c:pt>
                <c:pt idx="256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.58384955364699997</c:v>
                </c:pt>
                <c:pt idx="265">
                  <c:v>0.29471400952499999</c:v>
                </c:pt>
                <c:pt idx="266">
                  <c:v>0.294869564448</c:v>
                </c:pt>
                <c:pt idx="267">
                  <c:v>0.29498699107300003</c:v>
                </c:pt>
                <c:pt idx="268">
                  <c:v>0.29575211240900001</c:v>
                </c:pt>
                <c:pt idx="273">
                  <c:v>0.298896474217</c:v>
                </c:pt>
                <c:pt idx="275">
                  <c:v>0.29973144062899998</c:v>
                </c:pt>
                <c:pt idx="276">
                  <c:v>0.60091820301400001</c:v>
                </c:pt>
                <c:pt idx="277">
                  <c:v>0.301118655806</c:v>
                </c:pt>
                <c:pt idx="278">
                  <c:v>0</c:v>
                </c:pt>
                <c:pt idx="279">
                  <c:v>0.30253890650300003</c:v>
                </c:pt>
                <c:pt idx="280">
                  <c:v>0.302668934665</c:v>
                </c:pt>
                <c:pt idx="282">
                  <c:v>0.30332075563200001</c:v>
                </c:pt>
                <c:pt idx="283">
                  <c:v>0</c:v>
                </c:pt>
                <c:pt idx="284">
                  <c:v>0.30442605034499998</c:v>
                </c:pt>
                <c:pt idx="285">
                  <c:v>0.610029494926</c:v>
                </c:pt>
                <c:pt idx="286">
                  <c:v>0.61127870335500001</c:v>
                </c:pt>
                <c:pt idx="287">
                  <c:v>0.305744947564</c:v>
                </c:pt>
                <c:pt idx="289">
                  <c:v>1.531440472908</c:v>
                </c:pt>
                <c:pt idx="290">
                  <c:v>1.2252912364099999</c:v>
                </c:pt>
                <c:pt idx="291">
                  <c:v>0.92100819697199998</c:v>
                </c:pt>
                <c:pt idx="292">
                  <c:v>0.30773207614499998</c:v>
                </c:pt>
                <c:pt idx="293">
                  <c:v>0.92494959024699996</c:v>
                </c:pt>
                <c:pt idx="294">
                  <c:v>0.61680992076999996</c:v>
                </c:pt>
                <c:pt idx="295">
                  <c:v>0.92535757358899995</c:v>
                </c:pt>
                <c:pt idx="296">
                  <c:v>0.30897192681000002</c:v>
                </c:pt>
                <c:pt idx="298">
                  <c:v>0.93004510718699995</c:v>
                </c:pt>
                <c:pt idx="299">
                  <c:v>0.62117009811299995</c:v>
                </c:pt>
                <c:pt idx="300">
                  <c:v>0.62225430288799999</c:v>
                </c:pt>
                <c:pt idx="301">
                  <c:v>0.622378231698</c:v>
                </c:pt>
                <c:pt idx="302">
                  <c:v>1.556115065372</c:v>
                </c:pt>
                <c:pt idx="303">
                  <c:v>2.1818340497020001</c:v>
                </c:pt>
                <c:pt idx="304">
                  <c:v>0.31216539771399998</c:v>
                </c:pt>
                <c:pt idx="305">
                  <c:v>1.2505236567810001</c:v>
                </c:pt>
                <c:pt idx="306">
                  <c:v>0.313213539594</c:v>
                </c:pt>
                <c:pt idx="307">
                  <c:v>1.254921645829</c:v>
                </c:pt>
                <c:pt idx="308">
                  <c:v>1.5690409394160001</c:v>
                </c:pt>
                <c:pt idx="309">
                  <c:v>2.5107885445270002</c:v>
                </c:pt>
                <c:pt idx="310">
                  <c:v>1.571393102841</c:v>
                </c:pt>
                <c:pt idx="311">
                  <c:v>1.886988272367</c:v>
                </c:pt>
                <c:pt idx="312">
                  <c:v>2.204641084431</c:v>
                </c:pt>
                <c:pt idx="313">
                  <c:v>3.471498993265</c:v>
                </c:pt>
                <c:pt idx="314">
                  <c:v>4.1095024340890003</c:v>
                </c:pt>
                <c:pt idx="315">
                  <c:v>1.581032667296</c:v>
                </c:pt>
                <c:pt idx="316">
                  <c:v>3.4793170416939998</c:v>
                </c:pt>
                <c:pt idx="317">
                  <c:v>3.168547727834</c:v>
                </c:pt>
                <c:pt idx="318">
                  <c:v>3.8091368495890001</c:v>
                </c:pt>
                <c:pt idx="319">
                  <c:v>4.4542296091729998</c:v>
                </c:pt>
                <c:pt idx="320">
                  <c:v>4.1377949372479996</c:v>
                </c:pt>
                <c:pt idx="321">
                  <c:v>1.9133934351470001</c:v>
                </c:pt>
                <c:pt idx="322">
                  <c:v>3.8282884998209998</c:v>
                </c:pt>
                <c:pt idx="323">
                  <c:v>2.5531290191829998</c:v>
                </c:pt>
                <c:pt idx="324">
                  <c:v>5.4376509347960003</c:v>
                </c:pt>
                <c:pt idx="325">
                  <c:v>4.1671207759810001</c:v>
                </c:pt>
                <c:pt idx="326">
                  <c:v>3.8559296164310002</c:v>
                </c:pt>
                <c:pt idx="327">
                  <c:v>5.7981471698589999</c:v>
                </c:pt>
                <c:pt idx="328">
                  <c:v>4.1992376768520003</c:v>
                </c:pt>
                <c:pt idx="329">
                  <c:v>3.877747545708</c:v>
                </c:pt>
                <c:pt idx="330">
                  <c:v>7.1113409726369996</c:v>
                </c:pt>
                <c:pt idx="331">
                  <c:v>4.8592753848539996</c:v>
                </c:pt>
                <c:pt idx="332">
                  <c:v>5.1936585429189996</c:v>
                </c:pt>
                <c:pt idx="333">
                  <c:v>4.5544451384549998</c:v>
                </c:pt>
                <c:pt idx="334">
                  <c:v>6.1973631850529998</c:v>
                </c:pt>
                <c:pt idx="335">
                  <c:v>5.5611166722269996</c:v>
                </c:pt>
                <c:pt idx="336">
                  <c:v>5.5636828962560001</c:v>
                </c:pt>
                <c:pt idx="337">
                  <c:v>4.583536591354</c:v>
                </c:pt>
                <c:pt idx="338">
                  <c:v>6.8957591081479999</c:v>
                </c:pt>
                <c:pt idx="339">
                  <c:v>7.9055028888020002</c:v>
                </c:pt>
                <c:pt idx="340">
                  <c:v>5.273913903355</c:v>
                </c:pt>
                <c:pt idx="341">
                  <c:v>4.9600058197400001</c:v>
                </c:pt>
                <c:pt idx="342">
                  <c:v>7.3000693506580001</c:v>
                </c:pt>
                <c:pt idx="343">
                  <c:v>4.3162553496660001</c:v>
                </c:pt>
                <c:pt idx="344">
                  <c:v>2.989556482687</c:v>
                </c:pt>
                <c:pt idx="345">
                  <c:v>5.0007834560740001</c:v>
                </c:pt>
                <c:pt idx="346">
                  <c:v>8.3655126720779993</c:v>
                </c:pt>
                <c:pt idx="347">
                  <c:v>5.3787117313059998</c:v>
                </c:pt>
                <c:pt idx="348">
                  <c:v>3.3766444258349999</c:v>
                </c:pt>
                <c:pt idx="349">
                  <c:v>6.4441075419790002</c:v>
                </c:pt>
                <c:pt idx="350">
                  <c:v>4.0731676685520002</c:v>
                </c:pt>
                <c:pt idx="351">
                  <c:v>7.8099532761050003</c:v>
                </c:pt>
                <c:pt idx="352">
                  <c:v>3.750873783097</c:v>
                </c:pt>
                <c:pt idx="353">
                  <c:v>6.1609654917469996</c:v>
                </c:pt>
                <c:pt idx="354">
                  <c:v>5.15538325119</c:v>
                </c:pt>
                <c:pt idx="355">
                  <c:v>3.7969920919010001</c:v>
                </c:pt>
                <c:pt idx="356">
                  <c:v>3.1194759280439999</c:v>
                </c:pt>
                <c:pt idx="357">
                  <c:v>4.8561032546289997</c:v>
                </c:pt>
                <c:pt idx="358">
                  <c:v>3.817019046925</c:v>
                </c:pt>
                <c:pt idx="359">
                  <c:v>4.1799030262489998</c:v>
                </c:pt>
                <c:pt idx="360">
                  <c:v>3.1481079870989999</c:v>
                </c:pt>
                <c:pt idx="361">
                  <c:v>3.1547289386789998</c:v>
                </c:pt>
                <c:pt idx="362">
                  <c:v>6.6921202045669999</c:v>
                </c:pt>
                <c:pt idx="363">
                  <c:v>2.8305758806619998</c:v>
                </c:pt>
                <c:pt idx="364">
                  <c:v>2.8332625017700002</c:v>
                </c:pt>
                <c:pt idx="365">
                  <c:v>3.1896230928709999</c:v>
                </c:pt>
                <c:pt idx="366">
                  <c:v>5.693139766581</c:v>
                </c:pt>
                <c:pt idx="367">
                  <c:v>2.1449868083310002</c:v>
                </c:pt>
                <c:pt idx="368">
                  <c:v>6.1072212502549998</c:v>
                </c:pt>
                <c:pt idx="369">
                  <c:v>4.6967693452699999</c:v>
                </c:pt>
                <c:pt idx="370">
                  <c:v>3.6320184215969999</c:v>
                </c:pt>
                <c:pt idx="371">
                  <c:v>3.6366281184079998</c:v>
                </c:pt>
                <c:pt idx="372">
                  <c:v>3.6382555292380001</c:v>
                </c:pt>
                <c:pt idx="373">
                  <c:v>4.0231293362929996</c:v>
                </c:pt>
                <c:pt idx="374">
                  <c:v>2.572952389353</c:v>
                </c:pt>
                <c:pt idx="375">
                  <c:v>3.325868606017</c:v>
                </c:pt>
                <c:pt idx="376">
                  <c:v>2.9621182107320001</c:v>
                </c:pt>
                <c:pt idx="377">
                  <c:v>3.3324570205609998</c:v>
                </c:pt>
                <c:pt idx="378">
                  <c:v>2.962184018276</c:v>
                </c:pt>
                <c:pt idx="379">
                  <c:v>3.7027985751629999</c:v>
                </c:pt>
                <c:pt idx="380">
                  <c:v>3.7162011505349999</c:v>
                </c:pt>
                <c:pt idx="381">
                  <c:v>2.2379458640890002</c:v>
                </c:pt>
                <c:pt idx="382">
                  <c:v>1.8714746097029999</c:v>
                </c:pt>
                <c:pt idx="383">
                  <c:v>3.001605859134</c:v>
                </c:pt>
                <c:pt idx="384">
                  <c:v>1.5014789567719999</c:v>
                </c:pt>
                <c:pt idx="385">
                  <c:v>1.501490229052</c:v>
                </c:pt>
                <c:pt idx="386">
                  <c:v>2.2527342562029999</c:v>
                </c:pt>
                <c:pt idx="387">
                  <c:v>0.75349432995499999</c:v>
                </c:pt>
                <c:pt idx="388">
                  <c:v>1.8912529550820001</c:v>
                </c:pt>
                <c:pt idx="389">
                  <c:v>1.139570837622</c:v>
                </c:pt>
                <c:pt idx="390">
                  <c:v>1.14446156898</c:v>
                </c:pt>
                <c:pt idx="391">
                  <c:v>0.38294662106999999</c:v>
                </c:pt>
                <c:pt idx="392">
                  <c:v>0.76628352490399998</c:v>
                </c:pt>
                <c:pt idx="393">
                  <c:v>0.38319461688200002</c:v>
                </c:pt>
                <c:pt idx="394">
                  <c:v>2.304377549217</c:v>
                </c:pt>
                <c:pt idx="395">
                  <c:v>1.5403573629080001</c:v>
                </c:pt>
                <c:pt idx="396">
                  <c:v>1.157809424568</c:v>
                </c:pt>
                <c:pt idx="397">
                  <c:v>2.3197281278630002</c:v>
                </c:pt>
                <c:pt idx="398">
                  <c:v>1.5489107285299999</c:v>
                </c:pt>
                <c:pt idx="399">
                  <c:v>1.5491446784939999</c:v>
                </c:pt>
                <c:pt idx="400">
                  <c:v>1.161966512125</c:v>
                </c:pt>
                <c:pt idx="401">
                  <c:v>1.163408476594</c:v>
                </c:pt>
                <c:pt idx="402">
                  <c:v>1.5534583867330001</c:v>
                </c:pt>
                <c:pt idx="403">
                  <c:v>2.3324249833809998</c:v>
                </c:pt>
                <c:pt idx="404">
                  <c:v>1.556583765609</c:v>
                </c:pt>
                <c:pt idx="405">
                  <c:v>1.168206102708</c:v>
                </c:pt>
                <c:pt idx="406">
                  <c:v>2.3365759815559999</c:v>
                </c:pt>
                <c:pt idx="407">
                  <c:v>1.947275566754</c:v>
                </c:pt>
                <c:pt idx="408">
                  <c:v>1.949059383941</c:v>
                </c:pt>
                <c:pt idx="409">
                  <c:v>1.9512271267400001</c:v>
                </c:pt>
                <c:pt idx="410">
                  <c:v>3.1258547259010001</c:v>
                </c:pt>
                <c:pt idx="411">
                  <c:v>3.9128376289759998</c:v>
                </c:pt>
                <c:pt idx="412">
                  <c:v>2.743064944021</c:v>
                </c:pt>
                <c:pt idx="413">
                  <c:v>3.135385966012</c:v>
                </c:pt>
                <c:pt idx="414">
                  <c:v>1.5677912956219999</c:v>
                </c:pt>
                <c:pt idx="415">
                  <c:v>2.3542244596069999</c:v>
                </c:pt>
                <c:pt idx="416">
                  <c:v>1.571369645066</c:v>
                </c:pt>
                <c:pt idx="417">
                  <c:v>2.3597427880359998</c:v>
                </c:pt>
                <c:pt idx="418">
                  <c:v>1.969124133585</c:v>
                </c:pt>
                <c:pt idx="419">
                  <c:v>1.18294664122</c:v>
                </c:pt>
                <c:pt idx="420">
                  <c:v>3.1549722362439998</c:v>
                </c:pt>
                <c:pt idx="421">
                  <c:v>1.9719120842710001</c:v>
                </c:pt>
                <c:pt idx="422">
                  <c:v>2.368639216769</c:v>
                </c:pt>
                <c:pt idx="423">
                  <c:v>1.975659870396</c:v>
                </c:pt>
                <c:pt idx="424">
                  <c:v>3.5596196744130002</c:v>
                </c:pt>
                <c:pt idx="425">
                  <c:v>1.979453275005</c:v>
                </c:pt>
                <c:pt idx="426">
                  <c:v>1.188834466688</c:v>
                </c:pt>
                <c:pt idx="427">
                  <c:v>0.79263483709299998</c:v>
                </c:pt>
                <c:pt idx="428">
                  <c:v>3.5669981332699998</c:v>
                </c:pt>
                <c:pt idx="429">
                  <c:v>1.189758558329</c:v>
                </c:pt>
                <c:pt idx="430">
                  <c:v>1.587364577959</c:v>
                </c:pt>
                <c:pt idx="431">
                  <c:v>1.9853638973479999</c:v>
                </c:pt>
                <c:pt idx="432">
                  <c:v>2.781574848205</c:v>
                </c:pt>
                <c:pt idx="433">
                  <c:v>1.192956783152</c:v>
                </c:pt>
                <c:pt idx="434">
                  <c:v>1.590684948939</c:v>
                </c:pt>
                <c:pt idx="435">
                  <c:v>0.79534563732999997</c:v>
                </c:pt>
                <c:pt idx="436">
                  <c:v>1.591254465457</c:v>
                </c:pt>
                <c:pt idx="437">
                  <c:v>0</c:v>
                </c:pt>
                <c:pt idx="438">
                  <c:v>1.194514788093</c:v>
                </c:pt>
                <c:pt idx="439">
                  <c:v>1.195038201387</c:v>
                </c:pt>
                <c:pt idx="440">
                  <c:v>0.79707314740199997</c:v>
                </c:pt>
                <c:pt idx="441">
                  <c:v>0.39853975035400002</c:v>
                </c:pt>
                <c:pt idx="442">
                  <c:v>1.594165354801</c:v>
                </c:pt>
                <c:pt idx="443">
                  <c:v>0.79729557341400004</c:v>
                </c:pt>
                <c:pt idx="444">
                  <c:v>1.9936999082889999</c:v>
                </c:pt>
                <c:pt idx="445">
                  <c:v>0.79770897980900002</c:v>
                </c:pt>
                <c:pt idx="446">
                  <c:v>0.39895633023999999</c:v>
                </c:pt>
                <c:pt idx="447">
                  <c:v>0</c:v>
                </c:pt>
                <c:pt idx="448">
                  <c:v>1.197275002095</c:v>
                </c:pt>
                <c:pt idx="449">
                  <c:v>0.79818333473000003</c:v>
                </c:pt>
                <c:pt idx="450">
                  <c:v>1.596602430028</c:v>
                </c:pt>
                <c:pt idx="451">
                  <c:v>0.79840956813999997</c:v>
                </c:pt>
                <c:pt idx="452">
                  <c:v>1.597086913469</c:v>
                </c:pt>
                <c:pt idx="453">
                  <c:v>0.79866144342000001</c:v>
                </c:pt>
                <c:pt idx="454">
                  <c:v>0.79885922901999995</c:v>
                </c:pt>
                <c:pt idx="455">
                  <c:v>1.198288843531</c:v>
                </c:pt>
                <c:pt idx="456">
                  <c:v>0.39942961450999998</c:v>
                </c:pt>
                <c:pt idx="457">
                  <c:v>0.39944876071000002</c:v>
                </c:pt>
                <c:pt idx="458">
                  <c:v>0.79897411723300005</c:v>
                </c:pt>
                <c:pt idx="459">
                  <c:v>0</c:v>
                </c:pt>
                <c:pt idx="461">
                  <c:v>1.998289464218</c:v>
                </c:pt>
                <c:pt idx="462">
                  <c:v>0.39965949011399998</c:v>
                </c:pt>
                <c:pt idx="463">
                  <c:v>0.79931898022799996</c:v>
                </c:pt>
                <c:pt idx="464">
                  <c:v>0</c:v>
                </c:pt>
                <c:pt idx="465">
                  <c:v>1.998600979314</c:v>
                </c:pt>
                <c:pt idx="466">
                  <c:v>0.39976334010199999</c:v>
                </c:pt>
                <c:pt idx="467">
                  <c:v>0.399812887567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74-4C2A-9C27-AB83ED50F65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C$2:$C$469</c:f>
              <c:numCache>
                <c:formatCode>General</c:formatCode>
                <c:ptCount val="4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.88979846064799994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.59429712478999996</c:v>
                </c:pt>
                <c:pt idx="95">
                  <c:v>0.56971941318899999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.50908461495299995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.31451288244699999</c:v>
                </c:pt>
                <c:pt idx="111">
                  <c:v>0.30582442619599998</c:v>
                </c:pt>
                <c:pt idx="112">
                  <c:v>0</c:v>
                </c:pt>
                <c:pt idx="113">
                  <c:v>0</c:v>
                </c:pt>
                <c:pt idx="114">
                  <c:v>0.289589824971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.22737814805000001</c:v>
                </c:pt>
                <c:pt idx="121">
                  <c:v>0.436811884777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.18917109011700001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.16736961906600001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.148859808298</c:v>
                </c:pt>
                <c:pt idx="151">
                  <c:v>0</c:v>
                </c:pt>
                <c:pt idx="152">
                  <c:v>0.146244157545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.14405630872899999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4">
                  <c:v>0</c:v>
                </c:pt>
                <c:pt idx="165">
                  <c:v>0.12070486814799999</c:v>
                </c:pt>
                <c:pt idx="166">
                  <c:v>0</c:v>
                </c:pt>
                <c:pt idx="169">
                  <c:v>0</c:v>
                </c:pt>
                <c:pt idx="170">
                  <c:v>0</c:v>
                </c:pt>
                <c:pt idx="172">
                  <c:v>0</c:v>
                </c:pt>
                <c:pt idx="174">
                  <c:v>0</c:v>
                </c:pt>
                <c:pt idx="177">
                  <c:v>0</c:v>
                </c:pt>
                <c:pt idx="180">
                  <c:v>0</c:v>
                </c:pt>
                <c:pt idx="181">
                  <c:v>7.8761863505000002E-2</c:v>
                </c:pt>
                <c:pt idx="194">
                  <c:v>0</c:v>
                </c:pt>
                <c:pt idx="200">
                  <c:v>0</c:v>
                </c:pt>
                <c:pt idx="202">
                  <c:v>6.2657583823000004E-2</c:v>
                </c:pt>
                <c:pt idx="205">
                  <c:v>0</c:v>
                </c:pt>
                <c:pt idx="209">
                  <c:v>6.1025174103999998E-2</c:v>
                </c:pt>
                <c:pt idx="213">
                  <c:v>0</c:v>
                </c:pt>
                <c:pt idx="216">
                  <c:v>0</c:v>
                </c:pt>
                <c:pt idx="217">
                  <c:v>5.9147518642999997E-2</c:v>
                </c:pt>
                <c:pt idx="219">
                  <c:v>0</c:v>
                </c:pt>
                <c:pt idx="220">
                  <c:v>0</c:v>
                </c:pt>
                <c:pt idx="223">
                  <c:v>5.8002722647000002E-2</c:v>
                </c:pt>
                <c:pt idx="225">
                  <c:v>0</c:v>
                </c:pt>
                <c:pt idx="227">
                  <c:v>0.115251455625</c:v>
                </c:pt>
                <c:pt idx="228">
                  <c:v>0</c:v>
                </c:pt>
                <c:pt idx="230">
                  <c:v>0</c:v>
                </c:pt>
                <c:pt idx="233">
                  <c:v>0</c:v>
                </c:pt>
                <c:pt idx="234">
                  <c:v>0</c:v>
                </c:pt>
                <c:pt idx="239">
                  <c:v>0</c:v>
                </c:pt>
                <c:pt idx="241">
                  <c:v>5.6352568718999997E-2</c:v>
                </c:pt>
                <c:pt idx="244">
                  <c:v>0</c:v>
                </c:pt>
                <c:pt idx="253">
                  <c:v>0</c:v>
                </c:pt>
                <c:pt idx="254">
                  <c:v>0</c:v>
                </c:pt>
                <c:pt idx="256">
                  <c:v>5.5292669629000001E-2</c:v>
                </c:pt>
                <c:pt idx="260">
                  <c:v>0.110323341164</c:v>
                </c:pt>
                <c:pt idx="261">
                  <c:v>0.110234137307</c:v>
                </c:pt>
                <c:pt idx="262">
                  <c:v>0</c:v>
                </c:pt>
                <c:pt idx="265">
                  <c:v>5.4975170464000002E-2</c:v>
                </c:pt>
                <c:pt idx="266">
                  <c:v>5.4969761133999998E-2</c:v>
                </c:pt>
                <c:pt idx="267">
                  <c:v>0</c:v>
                </c:pt>
                <c:pt idx="268">
                  <c:v>5.4939168604999998E-2</c:v>
                </c:pt>
                <c:pt idx="273">
                  <c:v>5.4832046698999999E-2</c:v>
                </c:pt>
                <c:pt idx="275">
                  <c:v>0</c:v>
                </c:pt>
                <c:pt idx="276">
                  <c:v>5.4779752526000002E-2</c:v>
                </c:pt>
                <c:pt idx="277">
                  <c:v>5.4757945240000001E-2</c:v>
                </c:pt>
                <c:pt idx="278">
                  <c:v>5.4735136673E-2</c:v>
                </c:pt>
                <c:pt idx="279">
                  <c:v>0</c:v>
                </c:pt>
                <c:pt idx="280">
                  <c:v>0</c:v>
                </c:pt>
                <c:pt idx="282">
                  <c:v>0</c:v>
                </c:pt>
                <c:pt idx="283">
                  <c:v>0.10934584395499999</c:v>
                </c:pt>
                <c:pt idx="284">
                  <c:v>0.109319665459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9">
                  <c:v>0.218495776749</c:v>
                </c:pt>
                <c:pt idx="290">
                  <c:v>0.109246515855</c:v>
                </c:pt>
                <c:pt idx="291">
                  <c:v>5.4606971780999998E-2</c:v>
                </c:pt>
                <c:pt idx="292">
                  <c:v>0.109187291691</c:v>
                </c:pt>
                <c:pt idx="293">
                  <c:v>0.10916702828200001</c:v>
                </c:pt>
                <c:pt idx="294">
                  <c:v>5.4581607417000001E-2</c:v>
                </c:pt>
                <c:pt idx="295">
                  <c:v>0</c:v>
                </c:pt>
                <c:pt idx="296">
                  <c:v>0.27289865308099998</c:v>
                </c:pt>
                <c:pt idx="298">
                  <c:v>0.109192239489</c:v>
                </c:pt>
                <c:pt idx="299">
                  <c:v>0.38220601668699999</c:v>
                </c:pt>
                <c:pt idx="300">
                  <c:v>0.10922623046</c:v>
                </c:pt>
                <c:pt idx="301">
                  <c:v>0.109234522697</c:v>
                </c:pt>
                <c:pt idx="302">
                  <c:v>0.16385930166400001</c:v>
                </c:pt>
                <c:pt idx="303">
                  <c:v>0.163917765735</c:v>
                </c:pt>
                <c:pt idx="304">
                  <c:v>0.218695035786</c:v>
                </c:pt>
                <c:pt idx="305">
                  <c:v>0.32838116296100001</c:v>
                </c:pt>
                <c:pt idx="306">
                  <c:v>0.109568028049</c:v>
                </c:pt>
                <c:pt idx="307">
                  <c:v>0.16450795670099999</c:v>
                </c:pt>
                <c:pt idx="308">
                  <c:v>0.32911896498600002</c:v>
                </c:pt>
                <c:pt idx="309">
                  <c:v>0.43889702981899997</c:v>
                </c:pt>
                <c:pt idx="310">
                  <c:v>0.43996390096100002</c:v>
                </c:pt>
                <c:pt idx="311">
                  <c:v>0.22088183760399999</c:v>
                </c:pt>
                <c:pt idx="312">
                  <c:v>5.5543983892E-2</c:v>
                </c:pt>
                <c:pt idx="313">
                  <c:v>0.44734948227600002</c:v>
                </c:pt>
                <c:pt idx="314">
                  <c:v>0.33776575832</c:v>
                </c:pt>
                <c:pt idx="315">
                  <c:v>0.50732893009400004</c:v>
                </c:pt>
                <c:pt idx="316">
                  <c:v>0.16927280965200001</c:v>
                </c:pt>
                <c:pt idx="317">
                  <c:v>0.51192122328599998</c:v>
                </c:pt>
                <c:pt idx="318">
                  <c:v>0.45932873698299997</c:v>
                </c:pt>
                <c:pt idx="319">
                  <c:v>0.17401230614999999</c:v>
                </c:pt>
                <c:pt idx="320">
                  <c:v>0.34862560166899997</c:v>
                </c:pt>
                <c:pt idx="321">
                  <c:v>0.70253950467399995</c:v>
                </c:pt>
                <c:pt idx="322">
                  <c:v>0.46911961494600002</c:v>
                </c:pt>
                <c:pt idx="323">
                  <c:v>0.58730631371899999</c:v>
                </c:pt>
                <c:pt idx="324">
                  <c:v>0.296503453375</c:v>
                </c:pt>
                <c:pt idx="325">
                  <c:v>0.29984234289599998</c:v>
                </c:pt>
                <c:pt idx="326">
                  <c:v>0.85112954009200004</c:v>
                </c:pt>
                <c:pt idx="327">
                  <c:v>0.43137474818400001</c:v>
                </c:pt>
                <c:pt idx="328">
                  <c:v>0.87310645038500001</c:v>
                </c:pt>
                <c:pt idx="329">
                  <c:v>0.62551057300500001</c:v>
                </c:pt>
                <c:pt idx="330">
                  <c:v>0.501463961352</c:v>
                </c:pt>
                <c:pt idx="331">
                  <c:v>0.761182242886</c:v>
                </c:pt>
                <c:pt idx="332">
                  <c:v>0.70712765389800003</c:v>
                </c:pt>
                <c:pt idx="333">
                  <c:v>0.71692063036800002</c:v>
                </c:pt>
                <c:pt idx="334">
                  <c:v>0.72627970483899995</c:v>
                </c:pt>
                <c:pt idx="335">
                  <c:v>1.0682305562000001</c:v>
                </c:pt>
                <c:pt idx="336">
                  <c:v>0.66936868492400003</c:v>
                </c:pt>
                <c:pt idx="337">
                  <c:v>0.67056578317299997</c:v>
                </c:pt>
                <c:pt idx="338">
                  <c:v>0.61008759502099996</c:v>
                </c:pt>
                <c:pt idx="339">
                  <c:v>0.82341574809999996</c:v>
                </c:pt>
                <c:pt idx="340">
                  <c:v>0.96262736763300005</c:v>
                </c:pt>
                <c:pt idx="341">
                  <c:v>0.55687504002499999</c:v>
                </c:pt>
                <c:pt idx="342">
                  <c:v>0.56284953835700002</c:v>
                </c:pt>
                <c:pt idx="343">
                  <c:v>0.63477106628799995</c:v>
                </c:pt>
                <c:pt idx="344">
                  <c:v>0.56498611546599997</c:v>
                </c:pt>
                <c:pt idx="345">
                  <c:v>0.57115564062599999</c:v>
                </c:pt>
                <c:pt idx="346">
                  <c:v>0.79645216761600002</c:v>
                </c:pt>
                <c:pt idx="347">
                  <c:v>0.66102008619700003</c:v>
                </c:pt>
                <c:pt idx="348">
                  <c:v>0.59738271697099998</c:v>
                </c:pt>
                <c:pt idx="349">
                  <c:v>0.682206832983</c:v>
                </c:pt>
                <c:pt idx="350">
                  <c:v>0.76062517304199995</c:v>
                </c:pt>
                <c:pt idx="351">
                  <c:v>0.68687136959799999</c:v>
                </c:pt>
                <c:pt idx="352">
                  <c:v>1.011912545847</c:v>
                </c:pt>
                <c:pt idx="353">
                  <c:v>0.79945189577999998</c:v>
                </c:pt>
                <c:pt idx="354">
                  <c:v>0.82819370125500003</c:v>
                </c:pt>
                <c:pt idx="355">
                  <c:v>0.69083196893999999</c:v>
                </c:pt>
                <c:pt idx="356">
                  <c:v>0.53910874542200005</c:v>
                </c:pt>
                <c:pt idx="357">
                  <c:v>0.72931746824699994</c:v>
                </c:pt>
                <c:pt idx="358">
                  <c:v>0.276369572447</c:v>
                </c:pt>
                <c:pt idx="359">
                  <c:v>0.57533537257699996</c:v>
                </c:pt>
                <c:pt idx="360">
                  <c:v>0.30224751250199999</c:v>
                </c:pt>
                <c:pt idx="361">
                  <c:v>0.53210509288399999</c:v>
                </c:pt>
                <c:pt idx="362">
                  <c:v>0.78652480755400001</c:v>
                </c:pt>
                <c:pt idx="363">
                  <c:v>0.82345965988699998</c:v>
                </c:pt>
                <c:pt idx="364">
                  <c:v>0.59741082149900004</c:v>
                </c:pt>
                <c:pt idx="365">
                  <c:v>0.36162964784500001</c:v>
                </c:pt>
                <c:pt idx="366">
                  <c:v>0.37618592613200003</c:v>
                </c:pt>
                <c:pt idx="367">
                  <c:v>0.52652085549100003</c:v>
                </c:pt>
                <c:pt idx="368">
                  <c:v>0.55286723860700004</c:v>
                </c:pt>
                <c:pt idx="369">
                  <c:v>0</c:v>
                </c:pt>
                <c:pt idx="370">
                  <c:v>0.15109209365199999</c:v>
                </c:pt>
                <c:pt idx="371">
                  <c:v>0.76284982385699995</c:v>
                </c:pt>
                <c:pt idx="372">
                  <c:v>0.30665110923299999</c:v>
                </c:pt>
                <c:pt idx="373">
                  <c:v>0.31614705263999998</c:v>
                </c:pt>
                <c:pt idx="374">
                  <c:v>0.48981271194600001</c:v>
                </c:pt>
                <c:pt idx="375">
                  <c:v>0</c:v>
                </c:pt>
                <c:pt idx="376">
                  <c:v>0.50403310489399999</c:v>
                </c:pt>
                <c:pt idx="377">
                  <c:v>0.33603449058000001</c:v>
                </c:pt>
                <c:pt idx="378">
                  <c:v>0.50405427656400004</c:v>
                </c:pt>
                <c:pt idx="379">
                  <c:v>0.50410594290400002</c:v>
                </c:pt>
                <c:pt idx="380">
                  <c:v>0.68047926154299998</c:v>
                </c:pt>
                <c:pt idx="381">
                  <c:v>0.172875191027</c:v>
                </c:pt>
                <c:pt idx="382">
                  <c:v>0.70190954491599999</c:v>
                </c:pt>
                <c:pt idx="383">
                  <c:v>0.531996956977</c:v>
                </c:pt>
                <c:pt idx="384">
                  <c:v>0.35545065811600002</c:v>
                </c:pt>
                <c:pt idx="385">
                  <c:v>0</c:v>
                </c:pt>
                <c:pt idx="386">
                  <c:v>0.17794322543400001</c:v>
                </c:pt>
                <c:pt idx="387">
                  <c:v>0.72178063282100002</c:v>
                </c:pt>
                <c:pt idx="388">
                  <c:v>0.55360563349000003</c:v>
                </c:pt>
                <c:pt idx="389">
                  <c:v>0</c:v>
                </c:pt>
                <c:pt idx="390">
                  <c:v>0.19486074277000001</c:v>
                </c:pt>
                <c:pt idx="391">
                  <c:v>0.59888368081800003</c:v>
                </c:pt>
                <c:pt idx="392">
                  <c:v>1.002568580703</c:v>
                </c:pt>
                <c:pt idx="393">
                  <c:v>0</c:v>
                </c:pt>
                <c:pt idx="394">
                  <c:v>0.61706429604199997</c:v>
                </c:pt>
                <c:pt idx="395">
                  <c:v>0.21200229810400001</c:v>
                </c:pt>
                <c:pt idx="396">
                  <c:v>0.43749699220799998</c:v>
                </c:pt>
                <c:pt idx="397">
                  <c:v>0.225191243663</c:v>
                </c:pt>
                <c:pt idx="398">
                  <c:v>0.46122270138100002</c:v>
                </c:pt>
                <c:pt idx="399">
                  <c:v>0.23148683997300001</c:v>
                </c:pt>
                <c:pt idx="400">
                  <c:v>0.46388321276200001</c:v>
                </c:pt>
                <c:pt idx="401">
                  <c:v>0.236077338936</c:v>
                </c:pt>
                <c:pt idx="402">
                  <c:v>0</c:v>
                </c:pt>
                <c:pt idx="403">
                  <c:v>0.24669247069899999</c:v>
                </c:pt>
                <c:pt idx="404">
                  <c:v>0.75602361817700003</c:v>
                </c:pt>
                <c:pt idx="405">
                  <c:v>1.025341310488</c:v>
                </c:pt>
                <c:pt idx="406">
                  <c:v>0</c:v>
                </c:pt>
                <c:pt idx="407">
                  <c:v>0</c:v>
                </c:pt>
                <c:pt idx="408">
                  <c:v>1.301812122474</c:v>
                </c:pt>
                <c:pt idx="409">
                  <c:v>0.52874942828899996</c:v>
                </c:pt>
                <c:pt idx="410">
                  <c:v>0.26834543571199998</c:v>
                </c:pt>
                <c:pt idx="411">
                  <c:v>0.81684442108800004</c:v>
                </c:pt>
                <c:pt idx="412">
                  <c:v>1.3804680338819999</c:v>
                </c:pt>
                <c:pt idx="413">
                  <c:v>0.55328554790399997</c:v>
                </c:pt>
                <c:pt idx="414">
                  <c:v>0.276798985808</c:v>
                </c:pt>
                <c:pt idx="415">
                  <c:v>1.3961332692970001</c:v>
                </c:pt>
                <c:pt idx="416">
                  <c:v>2.2555161466759999</c:v>
                </c:pt>
                <c:pt idx="417">
                  <c:v>0.85352148740300005</c:v>
                </c:pt>
                <c:pt idx="418">
                  <c:v>0.57410059964799998</c:v>
                </c:pt>
                <c:pt idx="419">
                  <c:v>0.86853556218799999</c:v>
                </c:pt>
                <c:pt idx="420">
                  <c:v>0.28978535598600003</c:v>
                </c:pt>
                <c:pt idx="421">
                  <c:v>0.57976560076700001</c:v>
                </c:pt>
                <c:pt idx="422">
                  <c:v>0.29124545292999998</c:v>
                </c:pt>
                <c:pt idx="423">
                  <c:v>1.465463423498</c:v>
                </c:pt>
                <c:pt idx="424">
                  <c:v>0.29474180617700002</c:v>
                </c:pt>
                <c:pt idx="425">
                  <c:v>1.7797341670389999</c:v>
                </c:pt>
                <c:pt idx="426">
                  <c:v>0</c:v>
                </c:pt>
                <c:pt idx="427">
                  <c:v>0</c:v>
                </c:pt>
                <c:pt idx="428">
                  <c:v>0.29866169693599998</c:v>
                </c:pt>
                <c:pt idx="429">
                  <c:v>0.29963265036999998</c:v>
                </c:pt>
                <c:pt idx="430">
                  <c:v>0.60159603427800001</c:v>
                </c:pt>
                <c:pt idx="431">
                  <c:v>0.60389937828499995</c:v>
                </c:pt>
                <c:pt idx="432">
                  <c:v>0.60612672897599995</c:v>
                </c:pt>
                <c:pt idx="433">
                  <c:v>0.304529881994</c:v>
                </c:pt>
                <c:pt idx="434">
                  <c:v>0.30464584919999999</c:v>
                </c:pt>
                <c:pt idx="435">
                  <c:v>0.30466905323999999</c:v>
                </c:pt>
                <c:pt idx="436">
                  <c:v>0.91598019040099998</c:v>
                </c:pt>
                <c:pt idx="437">
                  <c:v>0.30617837339600001</c:v>
                </c:pt>
                <c:pt idx="438">
                  <c:v>0.61393761165899996</c:v>
                </c:pt>
                <c:pt idx="439">
                  <c:v>0.30783533272300001</c:v>
                </c:pt>
                <c:pt idx="440">
                  <c:v>0.30895378978100002</c:v>
                </c:pt>
                <c:pt idx="441">
                  <c:v>0</c:v>
                </c:pt>
                <c:pt idx="442">
                  <c:v>0.30906933043200002</c:v>
                </c:pt>
                <c:pt idx="443">
                  <c:v>0</c:v>
                </c:pt>
                <c:pt idx="444">
                  <c:v>0.31015734282000001</c:v>
                </c:pt>
                <c:pt idx="445">
                  <c:v>0</c:v>
                </c:pt>
                <c:pt idx="446">
                  <c:v>0.62235305466400004</c:v>
                </c:pt>
                <c:pt idx="447">
                  <c:v>0.93591187453699998</c:v>
                </c:pt>
                <c:pt idx="448">
                  <c:v>0</c:v>
                </c:pt>
                <c:pt idx="449">
                  <c:v>0.31201540107999998</c:v>
                </c:pt>
                <c:pt idx="450">
                  <c:v>0.31237895315500003</c:v>
                </c:pt>
                <c:pt idx="451">
                  <c:v>0</c:v>
                </c:pt>
                <c:pt idx="452">
                  <c:v>0.313100762087</c:v>
                </c:pt>
                <c:pt idx="453">
                  <c:v>0.31352090243800002</c:v>
                </c:pt>
                <c:pt idx="454">
                  <c:v>0</c:v>
                </c:pt>
                <c:pt idx="455">
                  <c:v>0</c:v>
                </c:pt>
                <c:pt idx="456">
                  <c:v>0.62846243522900003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1">
                  <c:v>0.63278323377500001</c:v>
                </c:pt>
                <c:pt idx="462">
                  <c:v>0</c:v>
                </c:pt>
                <c:pt idx="463">
                  <c:v>0.31640963657100002</c:v>
                </c:pt>
                <c:pt idx="464">
                  <c:v>0.31667215565000001</c:v>
                </c:pt>
                <c:pt idx="465">
                  <c:v>0.31698333301600001</c:v>
                </c:pt>
                <c:pt idx="466">
                  <c:v>0.31735956839000001</c:v>
                </c:pt>
                <c:pt idx="467">
                  <c:v>0.317738717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D74-4C2A-9C27-AB83ED50F659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469</c:f>
              <c:numCache>
                <c:formatCode>m/d/yyyy</c:formatCode>
                <c:ptCount val="468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</c:numCache>
            </c:numRef>
          </c:cat>
          <c:val>
            <c:numRef>
              <c:f>List1!$D$2:$D$469</c:f>
              <c:numCache>
                <c:formatCode>General</c:formatCode>
                <c:ptCount val="4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3">
                  <c:v>0</c:v>
                </c:pt>
                <c:pt idx="234">
                  <c:v>0</c:v>
                </c:pt>
                <c:pt idx="239">
                  <c:v>0</c:v>
                </c:pt>
                <c:pt idx="241">
                  <c:v>0</c:v>
                </c:pt>
                <c:pt idx="244">
                  <c:v>0</c:v>
                </c:pt>
                <c:pt idx="253">
                  <c:v>0</c:v>
                </c:pt>
                <c:pt idx="254">
                  <c:v>0</c:v>
                </c:pt>
                <c:pt idx="256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73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1.431024613623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.39972978266600001</c:v>
                </c:pt>
                <c:pt idx="330">
                  <c:v>0</c:v>
                </c:pt>
                <c:pt idx="331">
                  <c:v>0.36611529702899998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.52827876213699998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.20905282346699999</c:v>
                </c:pt>
                <c:pt idx="347">
                  <c:v>0</c:v>
                </c:pt>
                <c:pt idx="348">
                  <c:v>0.19120751369</c:v>
                </c:pt>
                <c:pt idx="349">
                  <c:v>0.18374651800299999</c:v>
                </c:pt>
                <c:pt idx="350">
                  <c:v>0.36429872495400001</c:v>
                </c:pt>
                <c:pt idx="351">
                  <c:v>0.18065737606000001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.14072733515899999</c:v>
                </c:pt>
                <c:pt idx="356">
                  <c:v>0.39637239979700001</c:v>
                </c:pt>
                <c:pt idx="357">
                  <c:v>0</c:v>
                </c:pt>
                <c:pt idx="358">
                  <c:v>0.25489526353600001</c:v>
                </c:pt>
                <c:pt idx="359">
                  <c:v>0</c:v>
                </c:pt>
                <c:pt idx="360">
                  <c:v>0.11365289496600001</c:v>
                </c:pt>
                <c:pt idx="361">
                  <c:v>0.21427683710199999</c:v>
                </c:pt>
                <c:pt idx="362">
                  <c:v>0.101583173763</c:v>
                </c:pt>
                <c:pt idx="363">
                  <c:v>0.195003617317</c:v>
                </c:pt>
                <c:pt idx="364">
                  <c:v>0</c:v>
                </c:pt>
                <c:pt idx="365">
                  <c:v>9.5549404296999998E-2</c:v>
                </c:pt>
                <c:pt idx="366">
                  <c:v>0</c:v>
                </c:pt>
                <c:pt idx="367">
                  <c:v>0</c:v>
                </c:pt>
                <c:pt idx="368">
                  <c:v>8.6470631978999998E-2</c:v>
                </c:pt>
                <c:pt idx="369">
                  <c:v>0.16769618147400001</c:v>
                </c:pt>
                <c:pt idx="370">
                  <c:v>8.1890357001000003E-2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.235519107665</c:v>
                </c:pt>
                <c:pt idx="375">
                  <c:v>0</c:v>
                </c:pt>
                <c:pt idx="376">
                  <c:v>7.7336769148000001E-2</c:v>
                </c:pt>
                <c:pt idx="377">
                  <c:v>0.23200528353300001</c:v>
                </c:pt>
                <c:pt idx="378">
                  <c:v>7.7334915089999998E-2</c:v>
                </c:pt>
                <c:pt idx="379">
                  <c:v>0</c:v>
                </c:pt>
                <c:pt idx="380">
                  <c:v>7.6839794407000006E-2</c:v>
                </c:pt>
                <c:pt idx="381">
                  <c:v>7.6233050533999994E-2</c:v>
                </c:pt>
                <c:pt idx="382">
                  <c:v>7.5684299593999999E-2</c:v>
                </c:pt>
                <c:pt idx="383">
                  <c:v>7.5307782907999998E-2</c:v>
                </c:pt>
                <c:pt idx="384">
                  <c:v>0</c:v>
                </c:pt>
                <c:pt idx="385">
                  <c:v>0</c:v>
                </c:pt>
                <c:pt idx="386">
                  <c:v>7.5187913391999997E-2</c:v>
                </c:pt>
                <c:pt idx="387">
                  <c:v>7.4699056176999998E-2</c:v>
                </c:pt>
                <c:pt idx="388">
                  <c:v>0</c:v>
                </c:pt>
                <c:pt idx="389">
                  <c:v>7.3160221615999999E-2</c:v>
                </c:pt>
                <c:pt idx="390">
                  <c:v>0</c:v>
                </c:pt>
                <c:pt idx="391">
                  <c:v>7.1620257933000003E-2</c:v>
                </c:pt>
                <c:pt idx="392">
                  <c:v>7.1500122622000006E-2</c:v>
                </c:pt>
                <c:pt idx="393">
                  <c:v>0.214323680194</c:v>
                </c:pt>
                <c:pt idx="394">
                  <c:v>7.0833017536000006E-2</c:v>
                </c:pt>
                <c:pt idx="395">
                  <c:v>0.28031914334399999</c:v>
                </c:pt>
                <c:pt idx="396">
                  <c:v>0.13869019592000001</c:v>
                </c:pt>
                <c:pt idx="397">
                  <c:v>0.13740029032600001</c:v>
                </c:pt>
                <c:pt idx="398">
                  <c:v>0.13638443498899999</c:v>
                </c:pt>
                <c:pt idx="399">
                  <c:v>6.8114230287999997E-2</c:v>
                </c:pt>
                <c:pt idx="400">
                  <c:v>6.8073843782000001E-2</c:v>
                </c:pt>
                <c:pt idx="401">
                  <c:v>0.27084361692600001</c:v>
                </c:pt>
                <c:pt idx="402">
                  <c:v>0.26897229719799998</c:v>
                </c:pt>
                <c:pt idx="403">
                  <c:v>6.6857656705000004E-2</c:v>
                </c:pt>
                <c:pt idx="404">
                  <c:v>0</c:v>
                </c:pt>
                <c:pt idx="405">
                  <c:v>6.6163646515999999E-2</c:v>
                </c:pt>
                <c:pt idx="406">
                  <c:v>6.6130087138999996E-2</c:v>
                </c:pt>
                <c:pt idx="407">
                  <c:v>0.13222808286400001</c:v>
                </c:pt>
                <c:pt idx="408">
                  <c:v>0.131777654199</c:v>
                </c:pt>
                <c:pt idx="409">
                  <c:v>0.26249785079799998</c:v>
                </c:pt>
                <c:pt idx="410">
                  <c:v>0.19611201395200001</c:v>
                </c:pt>
                <c:pt idx="411">
                  <c:v>0.19537800759999999</c:v>
                </c:pt>
                <c:pt idx="412">
                  <c:v>0.129791243763</c:v>
                </c:pt>
                <c:pt idx="413">
                  <c:v>0</c:v>
                </c:pt>
                <c:pt idx="414">
                  <c:v>0.19456363268400001</c:v>
                </c:pt>
                <c:pt idx="415">
                  <c:v>0.452978267396</c:v>
                </c:pt>
                <c:pt idx="416">
                  <c:v>0.258217780876</c:v>
                </c:pt>
                <c:pt idx="417">
                  <c:v>0.322046463575</c:v>
                </c:pt>
                <c:pt idx="418">
                  <c:v>0.32133056560599998</c:v>
                </c:pt>
                <c:pt idx="419">
                  <c:v>0.19239303588500001</c:v>
                </c:pt>
                <c:pt idx="420">
                  <c:v>0.25646450851699998</c:v>
                </c:pt>
                <c:pt idx="421">
                  <c:v>0.12822214229699999</c:v>
                </c:pt>
                <c:pt idx="422">
                  <c:v>0</c:v>
                </c:pt>
                <c:pt idx="423">
                  <c:v>0.127873068077</c:v>
                </c:pt>
                <c:pt idx="424">
                  <c:v>6.3848642959999993E-2</c:v>
                </c:pt>
                <c:pt idx="425">
                  <c:v>0</c:v>
                </c:pt>
                <c:pt idx="426">
                  <c:v>0.12731668625199999</c:v>
                </c:pt>
                <c:pt idx="427">
                  <c:v>0.12730177522300001</c:v>
                </c:pt>
                <c:pt idx="428">
                  <c:v>0.127292781671</c:v>
                </c:pt>
                <c:pt idx="429">
                  <c:v>0</c:v>
                </c:pt>
                <c:pt idx="430">
                  <c:v>6.3537164793000006E-2</c:v>
                </c:pt>
                <c:pt idx="431">
                  <c:v>6.3480092959999998E-2</c:v>
                </c:pt>
                <c:pt idx="432">
                  <c:v>0</c:v>
                </c:pt>
                <c:pt idx="433">
                  <c:v>0.19005746070499999</c:v>
                </c:pt>
                <c:pt idx="434">
                  <c:v>0.12669397766500001</c:v>
                </c:pt>
                <c:pt idx="435">
                  <c:v>0</c:v>
                </c:pt>
                <c:pt idx="436">
                  <c:v>0.25325608178600001</c:v>
                </c:pt>
                <c:pt idx="437">
                  <c:v>0</c:v>
                </c:pt>
                <c:pt idx="438">
                  <c:v>6.3234788239E-2</c:v>
                </c:pt>
                <c:pt idx="439">
                  <c:v>6.3193748874000005E-2</c:v>
                </c:pt>
                <c:pt idx="440">
                  <c:v>0.18942610834699999</c:v>
                </c:pt>
                <c:pt idx="441">
                  <c:v>0</c:v>
                </c:pt>
                <c:pt idx="442">
                  <c:v>0.18941127817799999</c:v>
                </c:pt>
                <c:pt idx="443">
                  <c:v>0.12621664961599999</c:v>
                </c:pt>
                <c:pt idx="444">
                  <c:v>0.31543452683200002</c:v>
                </c:pt>
                <c:pt idx="445">
                  <c:v>0.12612734194799999</c:v>
                </c:pt>
                <c:pt idx="446">
                  <c:v>0.252157999681</c:v>
                </c:pt>
                <c:pt idx="447">
                  <c:v>0.12600735000800001</c:v>
                </c:pt>
                <c:pt idx="448">
                  <c:v>6.3002285722000007E-2</c:v>
                </c:pt>
                <c:pt idx="449">
                  <c:v>6.3001809411000004E-2</c:v>
                </c:pt>
                <c:pt idx="450">
                  <c:v>0.37791323867799997</c:v>
                </c:pt>
                <c:pt idx="451">
                  <c:v>0.18891497314799999</c:v>
                </c:pt>
                <c:pt idx="452">
                  <c:v>0.12590652699400001</c:v>
                </c:pt>
                <c:pt idx="453">
                  <c:v>0.125869680825</c:v>
                </c:pt>
                <c:pt idx="454">
                  <c:v>6.2906573044000005E-2</c:v>
                </c:pt>
                <c:pt idx="455">
                  <c:v>6.2904436209000006E-2</c:v>
                </c:pt>
                <c:pt idx="456">
                  <c:v>0.125807685339</c:v>
                </c:pt>
                <c:pt idx="457">
                  <c:v>0.25156093560499998</c:v>
                </c:pt>
                <c:pt idx="458">
                  <c:v>6.2875958935999995E-2</c:v>
                </c:pt>
                <c:pt idx="459">
                  <c:v>6.2859714716999998E-2</c:v>
                </c:pt>
                <c:pt idx="461">
                  <c:v>0.25124933732900001</c:v>
                </c:pt>
                <c:pt idx="462">
                  <c:v>0.12562324833999999</c:v>
                </c:pt>
                <c:pt idx="463">
                  <c:v>6.2811584717000005E-2</c:v>
                </c:pt>
                <c:pt idx="464">
                  <c:v>0.125600843032</c:v>
                </c:pt>
                <c:pt idx="465">
                  <c:v>0.25115011053699998</c:v>
                </c:pt>
                <c:pt idx="466">
                  <c:v>6.2771723096000001E-2</c:v>
                </c:pt>
                <c:pt idx="467">
                  <c:v>6.2755690215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D74-4C2A-9C27-AB83ED50F6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  <c:min val="44197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hospitalizovaných na UPV/ECMO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800" b="1" i="0" baseline="0" dirty="0">
                <a:effectLst/>
              </a:rPr>
              <a:t>7 denní relativní pozitivita indikovaných testů 65+</a:t>
            </a:r>
            <a:endParaRPr lang="cs-CZ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0"/>
          <c:tx>
            <c:strRef>
              <c:f>'64'!$F$2</c:f>
              <c:strCache>
                <c:ptCount val="1"/>
                <c:pt idx="0">
                  <c:v>17.03.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F$3:$F$16</c:f>
              <c:numCache>
                <c:formatCode>General</c:formatCode>
                <c:ptCount val="14"/>
                <c:pt idx="0">
                  <c:v>0.36547945205400001</c:v>
                </c:pt>
                <c:pt idx="1">
                  <c:v>0.34829329962</c:v>
                </c:pt>
                <c:pt idx="2">
                  <c:v>0.38058991436700002</c:v>
                </c:pt>
                <c:pt idx="3">
                  <c:v>0.299186991869</c:v>
                </c:pt>
                <c:pt idx="4">
                  <c:v>0.34297520661100001</c:v>
                </c:pt>
                <c:pt idx="5">
                  <c:v>0.38958534233300002</c:v>
                </c:pt>
                <c:pt idx="6">
                  <c:v>0.33953488372000001</c:v>
                </c:pt>
                <c:pt idx="7">
                  <c:v>0.31829368334699998</c:v>
                </c:pt>
                <c:pt idx="8">
                  <c:v>0.28018018018000002</c:v>
                </c:pt>
                <c:pt idx="9">
                  <c:v>0.26371308016799999</c:v>
                </c:pt>
                <c:pt idx="10">
                  <c:v>0.31510658016600002</c:v>
                </c:pt>
                <c:pt idx="11">
                  <c:v>0.325708061002</c:v>
                </c:pt>
                <c:pt idx="12">
                  <c:v>0.32560706401700001</c:v>
                </c:pt>
                <c:pt idx="13">
                  <c:v>0.270328486806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64-4D1F-9C43-C8BD577298DE}"/>
            </c:ext>
          </c:extLst>
        </c:ser>
        <c:ser>
          <c:idx val="2"/>
          <c:order val="1"/>
          <c:tx>
            <c:strRef>
              <c:f>'64'!$E$2</c:f>
              <c:strCache>
                <c:ptCount val="1"/>
                <c:pt idx="0">
                  <c:v>24.03.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E$3:$E$16</c:f>
              <c:numCache>
                <c:formatCode>General</c:formatCode>
                <c:ptCount val="14"/>
                <c:pt idx="0">
                  <c:v>0.39477726574499999</c:v>
                </c:pt>
                <c:pt idx="1">
                  <c:v>0.388287714831</c:v>
                </c:pt>
                <c:pt idx="2">
                  <c:v>0.38953488372</c:v>
                </c:pt>
                <c:pt idx="3">
                  <c:v>0.29864972200099998</c:v>
                </c:pt>
                <c:pt idx="4">
                  <c:v>0.28980891719700003</c:v>
                </c:pt>
                <c:pt idx="5">
                  <c:v>0.38847385272099999</c:v>
                </c:pt>
                <c:pt idx="6">
                  <c:v>0.378809869375</c:v>
                </c:pt>
                <c:pt idx="7">
                  <c:v>0.33793103448200001</c:v>
                </c:pt>
                <c:pt idx="8">
                  <c:v>0.28753412192900002</c:v>
                </c:pt>
                <c:pt idx="9">
                  <c:v>0.308808290155</c:v>
                </c:pt>
                <c:pt idx="10">
                  <c:v>0.30135746606300001</c:v>
                </c:pt>
                <c:pt idx="11">
                  <c:v>0.358401880141</c:v>
                </c:pt>
                <c:pt idx="12">
                  <c:v>0.335260115606</c:v>
                </c:pt>
                <c:pt idx="13">
                  <c:v>0.30473905218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64-4D1F-9C43-C8BD577298DE}"/>
            </c:ext>
          </c:extLst>
        </c:ser>
        <c:ser>
          <c:idx val="1"/>
          <c:order val="2"/>
          <c:tx>
            <c:strRef>
              <c:f>'64'!$D$2</c:f>
              <c:strCache>
                <c:ptCount val="1"/>
                <c:pt idx="0">
                  <c:v>31.03.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D$3:$D$16</c:f>
              <c:numCache>
                <c:formatCode>General</c:formatCode>
                <c:ptCount val="14"/>
                <c:pt idx="0">
                  <c:v>0.38919737506300001</c:v>
                </c:pt>
                <c:pt idx="1">
                  <c:v>0.34808612440100001</c:v>
                </c:pt>
                <c:pt idx="2">
                  <c:v>0.41262135922299997</c:v>
                </c:pt>
                <c:pt idx="3">
                  <c:v>0.28009828009799997</c:v>
                </c:pt>
                <c:pt idx="4">
                  <c:v>0.38351254480199998</c:v>
                </c:pt>
                <c:pt idx="5">
                  <c:v>0.38349954669000003</c:v>
                </c:pt>
                <c:pt idx="6">
                  <c:v>0.27812500000000001</c:v>
                </c:pt>
                <c:pt idx="7">
                  <c:v>0.257095158597</c:v>
                </c:pt>
                <c:pt idx="8">
                  <c:v>0.27412467975999999</c:v>
                </c:pt>
                <c:pt idx="9">
                  <c:v>0.33787731255999998</c:v>
                </c:pt>
                <c:pt idx="10">
                  <c:v>0.30080530554200002</c:v>
                </c:pt>
                <c:pt idx="11">
                  <c:v>0.38205980066400003</c:v>
                </c:pt>
                <c:pt idx="12">
                  <c:v>0.35862068965499999</c:v>
                </c:pt>
                <c:pt idx="13">
                  <c:v>0.303172737954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4-4D1F-9C43-C8BD577298DE}"/>
            </c:ext>
          </c:extLst>
        </c:ser>
        <c:ser>
          <c:idx val="0"/>
          <c:order val="3"/>
          <c:tx>
            <c:strRef>
              <c:f>'64'!$C$2</c:f>
              <c:strCache>
                <c:ptCount val="1"/>
                <c:pt idx="0">
                  <c:v>07.04.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C$3:$C$16</c:f>
              <c:numCache>
                <c:formatCode>General</c:formatCode>
                <c:ptCount val="14"/>
                <c:pt idx="0">
                  <c:v>0.37219485495299998</c:v>
                </c:pt>
                <c:pt idx="1">
                  <c:v>0.349734042553</c:v>
                </c:pt>
                <c:pt idx="2">
                  <c:v>0.344943820224</c:v>
                </c:pt>
                <c:pt idx="3">
                  <c:v>0.277727682596</c:v>
                </c:pt>
                <c:pt idx="4">
                  <c:v>0.27037037037</c:v>
                </c:pt>
                <c:pt idx="5">
                  <c:v>0.31874298540899998</c:v>
                </c:pt>
                <c:pt idx="6">
                  <c:v>0.277296360485</c:v>
                </c:pt>
                <c:pt idx="7">
                  <c:v>0.28706326723300002</c:v>
                </c:pt>
                <c:pt idx="8">
                  <c:v>0.254665203073</c:v>
                </c:pt>
                <c:pt idx="9">
                  <c:v>0.279123414071</c:v>
                </c:pt>
                <c:pt idx="10">
                  <c:v>0.28254997298700002</c:v>
                </c:pt>
                <c:pt idx="11">
                  <c:v>0.39037433155000001</c:v>
                </c:pt>
                <c:pt idx="12">
                  <c:v>0.28040973111299999</c:v>
                </c:pt>
                <c:pt idx="13">
                  <c:v>0.251655629139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4-4D1F-9C43-C8BD5772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7945871"/>
        <c:axId val="2040461823"/>
      </c:barChart>
      <c:catAx>
        <c:axId val="1517945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40461823"/>
        <c:crosses val="autoZero"/>
        <c:auto val="1"/>
        <c:lblAlgn val="ctr"/>
        <c:lblOffset val="100"/>
        <c:noMultiLvlLbl val="0"/>
      </c:catAx>
      <c:valAx>
        <c:axId val="20404618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179458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800" b="1" i="0" baseline="0" dirty="0">
                <a:effectLst/>
              </a:rPr>
              <a:t>7 denní počet symptomatických případů na 100 000 obyv.</a:t>
            </a:r>
            <a:endParaRPr lang="cs-CZ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0"/>
          <c:tx>
            <c:strRef>
              <c:f>'64'!$F$2</c:f>
              <c:strCache>
                <c:ptCount val="1"/>
                <c:pt idx="0">
                  <c:v>17.03.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F$3:$F$16</c:f>
              <c:numCache>
                <c:formatCode>General</c:formatCode>
                <c:ptCount val="14"/>
                <c:pt idx="0">
                  <c:v>202.00976118356499</c:v>
                </c:pt>
                <c:pt idx="1">
                  <c:v>223.104913672919</c:v>
                </c:pt>
                <c:pt idx="2">
                  <c:v>334.394632282445</c:v>
                </c:pt>
                <c:pt idx="3">
                  <c:v>404.54046335195</c:v>
                </c:pt>
                <c:pt idx="4">
                  <c:v>205.924769272205</c:v>
                </c:pt>
                <c:pt idx="5">
                  <c:v>242.83846835511201</c:v>
                </c:pt>
                <c:pt idx="6">
                  <c:v>236.397002323289</c:v>
                </c:pt>
                <c:pt idx="7">
                  <c:v>331.51598665947699</c:v>
                </c:pt>
                <c:pt idx="8">
                  <c:v>291.85856143947802</c:v>
                </c:pt>
                <c:pt idx="9">
                  <c:v>219.51372894279601</c:v>
                </c:pt>
                <c:pt idx="10">
                  <c:v>310.70995635503903</c:v>
                </c:pt>
                <c:pt idx="11">
                  <c:v>271.04526091079998</c:v>
                </c:pt>
                <c:pt idx="12">
                  <c:v>238.57174131514299</c:v>
                </c:pt>
                <c:pt idx="13">
                  <c:v>176.218987721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64-4D1F-9C43-C8BD577298DE}"/>
            </c:ext>
          </c:extLst>
        </c:ser>
        <c:ser>
          <c:idx val="2"/>
          <c:order val="1"/>
          <c:tx>
            <c:strRef>
              <c:f>'64'!$E$2</c:f>
              <c:strCache>
                <c:ptCount val="1"/>
                <c:pt idx="0">
                  <c:v>24.03.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E$3:$E$16</c:f>
              <c:numCache>
                <c:formatCode>General</c:formatCode>
                <c:ptCount val="14"/>
                <c:pt idx="0">
                  <c:v>213.61951757342601</c:v>
                </c:pt>
                <c:pt idx="1">
                  <c:v>223.89175370190301</c:v>
                </c:pt>
                <c:pt idx="2">
                  <c:v>288.55521939986102</c:v>
                </c:pt>
                <c:pt idx="3">
                  <c:v>339.57035129542601</c:v>
                </c:pt>
                <c:pt idx="4">
                  <c:v>184.44586121897899</c:v>
                </c:pt>
                <c:pt idx="5">
                  <c:v>216.278010878771</c:v>
                </c:pt>
                <c:pt idx="6">
                  <c:v>236.17100136504499</c:v>
                </c:pt>
                <c:pt idx="7">
                  <c:v>294.84225757666502</c:v>
                </c:pt>
                <c:pt idx="8">
                  <c:v>309.45422831525298</c:v>
                </c:pt>
                <c:pt idx="9">
                  <c:v>217.941562576151</c:v>
                </c:pt>
                <c:pt idx="10">
                  <c:v>274.90385476108202</c:v>
                </c:pt>
                <c:pt idx="11">
                  <c:v>280.56118581112099</c:v>
                </c:pt>
                <c:pt idx="12">
                  <c:v>230.81471215388501</c:v>
                </c:pt>
                <c:pt idx="13">
                  <c:v>166.24274626645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64-4D1F-9C43-C8BD577298DE}"/>
            </c:ext>
          </c:extLst>
        </c:ser>
        <c:ser>
          <c:idx val="1"/>
          <c:order val="2"/>
          <c:tx>
            <c:strRef>
              <c:f>'64'!$D$2</c:f>
              <c:strCache>
                <c:ptCount val="1"/>
                <c:pt idx="0">
                  <c:v>31.03.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D$3:$D$16</c:f>
              <c:numCache>
                <c:formatCode>General</c:formatCode>
                <c:ptCount val="14"/>
                <c:pt idx="0">
                  <c:v>211.37246794958199</c:v>
                </c:pt>
                <c:pt idx="1">
                  <c:v>193.348054394966</c:v>
                </c:pt>
                <c:pt idx="2">
                  <c:v>247.998993086794</c:v>
                </c:pt>
                <c:pt idx="3">
                  <c:v>265.29462423080599</c:v>
                </c:pt>
                <c:pt idx="4">
                  <c:v>186.49147150976199</c:v>
                </c:pt>
                <c:pt idx="5">
                  <c:v>191.92072499033</c:v>
                </c:pt>
                <c:pt idx="6">
                  <c:v>173.56873593143999</c:v>
                </c:pt>
                <c:pt idx="7">
                  <c:v>240.013217066718</c:v>
                </c:pt>
                <c:pt idx="8">
                  <c:v>289.180959958382</c:v>
                </c:pt>
                <c:pt idx="9">
                  <c:v>180.99565295999599</c:v>
                </c:pt>
                <c:pt idx="10">
                  <c:v>238.17750289251299</c:v>
                </c:pt>
                <c:pt idx="11">
                  <c:v>252.80640485185199</c:v>
                </c:pt>
                <c:pt idx="12">
                  <c:v>184.96205088955799</c:v>
                </c:pt>
                <c:pt idx="13">
                  <c:v>143.9429124253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4-4D1F-9C43-C8BD577298DE}"/>
            </c:ext>
          </c:extLst>
        </c:ser>
        <c:ser>
          <c:idx val="0"/>
          <c:order val="3"/>
          <c:tx>
            <c:strRef>
              <c:f>'64'!$C$2</c:f>
              <c:strCache>
                <c:ptCount val="1"/>
                <c:pt idx="0">
                  <c:v>07.04.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C$3:$C$16</c:f>
              <c:numCache>
                <c:formatCode>General</c:formatCode>
                <c:ptCount val="14"/>
                <c:pt idx="0">
                  <c:v>181.71141291484199</c:v>
                </c:pt>
                <c:pt idx="1">
                  <c:v>160.08618044244699</c:v>
                </c:pt>
                <c:pt idx="2">
                  <c:v>183.046875849777</c:v>
                </c:pt>
                <c:pt idx="3">
                  <c:v>197.27903817163201</c:v>
                </c:pt>
                <c:pt idx="4">
                  <c:v>120.350072107762</c:v>
                </c:pt>
                <c:pt idx="5">
                  <c:v>130.35431895070201</c:v>
                </c:pt>
                <c:pt idx="6">
                  <c:v>140.12059411131901</c:v>
                </c:pt>
                <c:pt idx="7">
                  <c:v>182.64243295697301</c:v>
                </c:pt>
                <c:pt idx="8">
                  <c:v>193.74359288216999</c:v>
                </c:pt>
                <c:pt idx="9">
                  <c:v>127.148954902407</c:v>
                </c:pt>
                <c:pt idx="10">
                  <c:v>183.04614553172399</c:v>
                </c:pt>
                <c:pt idx="11">
                  <c:v>190.00130050973601</c:v>
                </c:pt>
                <c:pt idx="12">
                  <c:v>129.97333305752699</c:v>
                </c:pt>
                <c:pt idx="13">
                  <c:v>113.76268617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4-4D1F-9C43-C8BD5772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7945871"/>
        <c:axId val="2040461823"/>
      </c:barChart>
      <c:catAx>
        <c:axId val="1517945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40461823"/>
        <c:crosses val="autoZero"/>
        <c:auto val="1"/>
        <c:lblAlgn val="ctr"/>
        <c:lblOffset val="100"/>
        <c:noMultiLvlLbl val="0"/>
      </c:catAx>
      <c:valAx>
        <c:axId val="20404618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179458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460</c:f>
              <c:numCache>
                <c:formatCode>m/d/yyyy</c:formatCode>
                <c:ptCount val="339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H$122:$H$449</c:f>
              <c:numCache>
                <c:formatCode>General</c:formatCode>
                <c:ptCount val="32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>
                  <c:v>100</c:v>
                </c:pt>
                <c:pt idx="189">
                  <c:v>100</c:v>
                </c:pt>
                <c:pt idx="190">
                  <c:v>100</c:v>
                </c:pt>
                <c:pt idx="191">
                  <c:v>100</c:v>
                </c:pt>
                <c:pt idx="192">
                  <c:v>100</c:v>
                </c:pt>
                <c:pt idx="193">
                  <c:v>100</c:v>
                </c:pt>
                <c:pt idx="194">
                  <c:v>100</c:v>
                </c:pt>
                <c:pt idx="195">
                  <c:v>100</c:v>
                </c:pt>
                <c:pt idx="196">
                  <c:v>100</c:v>
                </c:pt>
                <c:pt idx="197">
                  <c:v>100</c:v>
                </c:pt>
                <c:pt idx="198">
                  <c:v>100</c:v>
                </c:pt>
                <c:pt idx="199">
                  <c:v>100</c:v>
                </c:pt>
                <c:pt idx="200">
                  <c:v>100</c:v>
                </c:pt>
                <c:pt idx="201">
                  <c:v>100</c:v>
                </c:pt>
                <c:pt idx="202">
                  <c:v>100</c:v>
                </c:pt>
                <c:pt idx="203">
                  <c:v>100</c:v>
                </c:pt>
                <c:pt idx="204">
                  <c:v>100</c:v>
                </c:pt>
                <c:pt idx="205">
                  <c:v>100</c:v>
                </c:pt>
                <c:pt idx="206">
                  <c:v>100</c:v>
                </c:pt>
                <c:pt idx="207">
                  <c:v>100</c:v>
                </c:pt>
                <c:pt idx="208">
                  <c:v>100</c:v>
                </c:pt>
                <c:pt idx="209">
                  <c:v>100</c:v>
                </c:pt>
                <c:pt idx="210">
                  <c:v>100</c:v>
                </c:pt>
                <c:pt idx="211">
                  <c:v>10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  <c:pt idx="223">
                  <c:v>100</c:v>
                </c:pt>
                <c:pt idx="224">
                  <c:v>100</c:v>
                </c:pt>
                <c:pt idx="225">
                  <c:v>100</c:v>
                </c:pt>
                <c:pt idx="226">
                  <c:v>100</c:v>
                </c:pt>
                <c:pt idx="227">
                  <c:v>100</c:v>
                </c:pt>
                <c:pt idx="228">
                  <c:v>100</c:v>
                </c:pt>
                <c:pt idx="229">
                  <c:v>100</c:v>
                </c:pt>
                <c:pt idx="230">
                  <c:v>100</c:v>
                </c:pt>
                <c:pt idx="231">
                  <c:v>100</c:v>
                </c:pt>
                <c:pt idx="232">
                  <c:v>100</c:v>
                </c:pt>
                <c:pt idx="233">
                  <c:v>100</c:v>
                </c:pt>
                <c:pt idx="234">
                  <c:v>100</c:v>
                </c:pt>
                <c:pt idx="235">
                  <c:v>100</c:v>
                </c:pt>
                <c:pt idx="236">
                  <c:v>100</c:v>
                </c:pt>
                <c:pt idx="237">
                  <c:v>100</c:v>
                </c:pt>
                <c:pt idx="238">
                  <c:v>100</c:v>
                </c:pt>
                <c:pt idx="239">
                  <c:v>100</c:v>
                </c:pt>
                <c:pt idx="240">
                  <c:v>100</c:v>
                </c:pt>
                <c:pt idx="241">
                  <c:v>100</c:v>
                </c:pt>
                <c:pt idx="242">
                  <c:v>100</c:v>
                </c:pt>
                <c:pt idx="243">
                  <c:v>100</c:v>
                </c:pt>
                <c:pt idx="244">
                  <c:v>100</c:v>
                </c:pt>
                <c:pt idx="245">
                  <c:v>100</c:v>
                </c:pt>
                <c:pt idx="246">
                  <c:v>100</c:v>
                </c:pt>
                <c:pt idx="247">
                  <c:v>100</c:v>
                </c:pt>
                <c:pt idx="248">
                  <c:v>100</c:v>
                </c:pt>
                <c:pt idx="249">
                  <c:v>100</c:v>
                </c:pt>
                <c:pt idx="250">
                  <c:v>100</c:v>
                </c:pt>
                <c:pt idx="251">
                  <c:v>100</c:v>
                </c:pt>
                <c:pt idx="252">
                  <c:v>100</c:v>
                </c:pt>
                <c:pt idx="253">
                  <c:v>100</c:v>
                </c:pt>
                <c:pt idx="254">
                  <c:v>100</c:v>
                </c:pt>
                <c:pt idx="255">
                  <c:v>100</c:v>
                </c:pt>
                <c:pt idx="256">
                  <c:v>100</c:v>
                </c:pt>
                <c:pt idx="257">
                  <c:v>100</c:v>
                </c:pt>
                <c:pt idx="258">
                  <c:v>100</c:v>
                </c:pt>
                <c:pt idx="259">
                  <c:v>100</c:v>
                </c:pt>
                <c:pt idx="260">
                  <c:v>100</c:v>
                </c:pt>
                <c:pt idx="261">
                  <c:v>100</c:v>
                </c:pt>
                <c:pt idx="262">
                  <c:v>100</c:v>
                </c:pt>
                <c:pt idx="263">
                  <c:v>100</c:v>
                </c:pt>
                <c:pt idx="264">
                  <c:v>100</c:v>
                </c:pt>
                <c:pt idx="265">
                  <c:v>100</c:v>
                </c:pt>
                <c:pt idx="266">
                  <c:v>100</c:v>
                </c:pt>
                <c:pt idx="267">
                  <c:v>100</c:v>
                </c:pt>
                <c:pt idx="268">
                  <c:v>100</c:v>
                </c:pt>
                <c:pt idx="269">
                  <c:v>100</c:v>
                </c:pt>
                <c:pt idx="270">
                  <c:v>100</c:v>
                </c:pt>
                <c:pt idx="271">
                  <c:v>100</c:v>
                </c:pt>
                <c:pt idx="272">
                  <c:v>100</c:v>
                </c:pt>
                <c:pt idx="273">
                  <c:v>100</c:v>
                </c:pt>
                <c:pt idx="274">
                  <c:v>100</c:v>
                </c:pt>
                <c:pt idx="275">
                  <c:v>100</c:v>
                </c:pt>
                <c:pt idx="276">
                  <c:v>100</c:v>
                </c:pt>
                <c:pt idx="277">
                  <c:v>100</c:v>
                </c:pt>
                <c:pt idx="278">
                  <c:v>100</c:v>
                </c:pt>
                <c:pt idx="279">
                  <c:v>100</c:v>
                </c:pt>
                <c:pt idx="280">
                  <c:v>100</c:v>
                </c:pt>
                <c:pt idx="281">
                  <c:v>100</c:v>
                </c:pt>
                <c:pt idx="282">
                  <c:v>100</c:v>
                </c:pt>
                <c:pt idx="283">
                  <c:v>100</c:v>
                </c:pt>
                <c:pt idx="284">
                  <c:v>100</c:v>
                </c:pt>
                <c:pt idx="285">
                  <c:v>100</c:v>
                </c:pt>
                <c:pt idx="286">
                  <c:v>100</c:v>
                </c:pt>
                <c:pt idx="287">
                  <c:v>100</c:v>
                </c:pt>
                <c:pt idx="288">
                  <c:v>100</c:v>
                </c:pt>
                <c:pt idx="289">
                  <c:v>100</c:v>
                </c:pt>
                <c:pt idx="290">
                  <c:v>100</c:v>
                </c:pt>
                <c:pt idx="291">
                  <c:v>100</c:v>
                </c:pt>
                <c:pt idx="292">
                  <c:v>100</c:v>
                </c:pt>
                <c:pt idx="293">
                  <c:v>100</c:v>
                </c:pt>
                <c:pt idx="294">
                  <c:v>100</c:v>
                </c:pt>
                <c:pt idx="295">
                  <c:v>100</c:v>
                </c:pt>
                <c:pt idx="296">
                  <c:v>100</c:v>
                </c:pt>
                <c:pt idx="297">
                  <c:v>100</c:v>
                </c:pt>
                <c:pt idx="298">
                  <c:v>100</c:v>
                </c:pt>
                <c:pt idx="299">
                  <c:v>100</c:v>
                </c:pt>
                <c:pt idx="300">
                  <c:v>100</c:v>
                </c:pt>
                <c:pt idx="301">
                  <c:v>100</c:v>
                </c:pt>
                <c:pt idx="302">
                  <c:v>100</c:v>
                </c:pt>
                <c:pt idx="303">
                  <c:v>100</c:v>
                </c:pt>
                <c:pt idx="304">
                  <c:v>100</c:v>
                </c:pt>
                <c:pt idx="305">
                  <c:v>100</c:v>
                </c:pt>
                <c:pt idx="306">
                  <c:v>100</c:v>
                </c:pt>
                <c:pt idx="307">
                  <c:v>100</c:v>
                </c:pt>
                <c:pt idx="308">
                  <c:v>100</c:v>
                </c:pt>
                <c:pt idx="309">
                  <c:v>100</c:v>
                </c:pt>
                <c:pt idx="310">
                  <c:v>100</c:v>
                </c:pt>
                <c:pt idx="311">
                  <c:v>100</c:v>
                </c:pt>
                <c:pt idx="312">
                  <c:v>100</c:v>
                </c:pt>
                <c:pt idx="313">
                  <c:v>100</c:v>
                </c:pt>
                <c:pt idx="314">
                  <c:v>100</c:v>
                </c:pt>
                <c:pt idx="315">
                  <c:v>100</c:v>
                </c:pt>
                <c:pt idx="316">
                  <c:v>100</c:v>
                </c:pt>
                <c:pt idx="317">
                  <c:v>100</c:v>
                </c:pt>
                <c:pt idx="318">
                  <c:v>100</c:v>
                </c:pt>
                <c:pt idx="319">
                  <c:v>100</c:v>
                </c:pt>
                <c:pt idx="320">
                  <c:v>100</c:v>
                </c:pt>
                <c:pt idx="321">
                  <c:v>100</c:v>
                </c:pt>
                <c:pt idx="322">
                  <c:v>100</c:v>
                </c:pt>
                <c:pt idx="323">
                  <c:v>100</c:v>
                </c:pt>
                <c:pt idx="324">
                  <c:v>100</c:v>
                </c:pt>
                <c:pt idx="325">
                  <c:v>100</c:v>
                </c:pt>
                <c:pt idx="326">
                  <c:v>100</c:v>
                </c:pt>
                <c:pt idx="32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numRef>
              <c:f>Sheet1!$A$122:$A$460</c:f>
              <c:numCache>
                <c:formatCode>m/d/yyyy</c:formatCode>
                <c:ptCount val="339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I$122:$I$449</c:f>
              <c:numCache>
                <c:formatCode>General</c:formatCode>
                <c:ptCount val="32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>
                  <c:v>50</c:v>
                </c:pt>
                <c:pt idx="189">
                  <c:v>50</c:v>
                </c:pt>
                <c:pt idx="190">
                  <c:v>50</c:v>
                </c:pt>
                <c:pt idx="191">
                  <c:v>50</c:v>
                </c:pt>
                <c:pt idx="192">
                  <c:v>50</c:v>
                </c:pt>
                <c:pt idx="193">
                  <c:v>50</c:v>
                </c:pt>
                <c:pt idx="194">
                  <c:v>50</c:v>
                </c:pt>
                <c:pt idx="195">
                  <c:v>50</c:v>
                </c:pt>
                <c:pt idx="196">
                  <c:v>50</c:v>
                </c:pt>
                <c:pt idx="197">
                  <c:v>50</c:v>
                </c:pt>
                <c:pt idx="198">
                  <c:v>50</c:v>
                </c:pt>
                <c:pt idx="199">
                  <c:v>50</c:v>
                </c:pt>
                <c:pt idx="200">
                  <c:v>50</c:v>
                </c:pt>
                <c:pt idx="201">
                  <c:v>50</c:v>
                </c:pt>
                <c:pt idx="202">
                  <c:v>50</c:v>
                </c:pt>
                <c:pt idx="203">
                  <c:v>50</c:v>
                </c:pt>
                <c:pt idx="204">
                  <c:v>50</c:v>
                </c:pt>
                <c:pt idx="205">
                  <c:v>50</c:v>
                </c:pt>
                <c:pt idx="206">
                  <c:v>50</c:v>
                </c:pt>
                <c:pt idx="207">
                  <c:v>50</c:v>
                </c:pt>
                <c:pt idx="208">
                  <c:v>50</c:v>
                </c:pt>
                <c:pt idx="209">
                  <c:v>50</c:v>
                </c:pt>
                <c:pt idx="210">
                  <c:v>50</c:v>
                </c:pt>
                <c:pt idx="211">
                  <c:v>50</c:v>
                </c:pt>
                <c:pt idx="212">
                  <c:v>50</c:v>
                </c:pt>
                <c:pt idx="213">
                  <c:v>50</c:v>
                </c:pt>
                <c:pt idx="214">
                  <c:v>50</c:v>
                </c:pt>
                <c:pt idx="215">
                  <c:v>50</c:v>
                </c:pt>
                <c:pt idx="216">
                  <c:v>50</c:v>
                </c:pt>
                <c:pt idx="217">
                  <c:v>50</c:v>
                </c:pt>
                <c:pt idx="218">
                  <c:v>50</c:v>
                </c:pt>
                <c:pt idx="219">
                  <c:v>50</c:v>
                </c:pt>
                <c:pt idx="220">
                  <c:v>50</c:v>
                </c:pt>
                <c:pt idx="221">
                  <c:v>50</c:v>
                </c:pt>
                <c:pt idx="222">
                  <c:v>50</c:v>
                </c:pt>
                <c:pt idx="223">
                  <c:v>50</c:v>
                </c:pt>
                <c:pt idx="224">
                  <c:v>50</c:v>
                </c:pt>
                <c:pt idx="225">
                  <c:v>50</c:v>
                </c:pt>
                <c:pt idx="226">
                  <c:v>50</c:v>
                </c:pt>
                <c:pt idx="227">
                  <c:v>50</c:v>
                </c:pt>
                <c:pt idx="228">
                  <c:v>50</c:v>
                </c:pt>
                <c:pt idx="229">
                  <c:v>50</c:v>
                </c:pt>
                <c:pt idx="230">
                  <c:v>50</c:v>
                </c:pt>
                <c:pt idx="231">
                  <c:v>50</c:v>
                </c:pt>
                <c:pt idx="232">
                  <c:v>50</c:v>
                </c:pt>
                <c:pt idx="233">
                  <c:v>50</c:v>
                </c:pt>
                <c:pt idx="234">
                  <c:v>50</c:v>
                </c:pt>
                <c:pt idx="235">
                  <c:v>50</c:v>
                </c:pt>
                <c:pt idx="236">
                  <c:v>50</c:v>
                </c:pt>
                <c:pt idx="237">
                  <c:v>50</c:v>
                </c:pt>
                <c:pt idx="238">
                  <c:v>50</c:v>
                </c:pt>
                <c:pt idx="239">
                  <c:v>50</c:v>
                </c:pt>
                <c:pt idx="240">
                  <c:v>50</c:v>
                </c:pt>
                <c:pt idx="241">
                  <c:v>50</c:v>
                </c:pt>
                <c:pt idx="242">
                  <c:v>50</c:v>
                </c:pt>
                <c:pt idx="243">
                  <c:v>50</c:v>
                </c:pt>
                <c:pt idx="244">
                  <c:v>50</c:v>
                </c:pt>
                <c:pt idx="245">
                  <c:v>50</c:v>
                </c:pt>
                <c:pt idx="246">
                  <c:v>50</c:v>
                </c:pt>
                <c:pt idx="247">
                  <c:v>50</c:v>
                </c:pt>
                <c:pt idx="248">
                  <c:v>50</c:v>
                </c:pt>
                <c:pt idx="249">
                  <c:v>50</c:v>
                </c:pt>
                <c:pt idx="250">
                  <c:v>50</c:v>
                </c:pt>
                <c:pt idx="251">
                  <c:v>50</c:v>
                </c:pt>
                <c:pt idx="252">
                  <c:v>50</c:v>
                </c:pt>
                <c:pt idx="253">
                  <c:v>50</c:v>
                </c:pt>
                <c:pt idx="254">
                  <c:v>50</c:v>
                </c:pt>
                <c:pt idx="255">
                  <c:v>50</c:v>
                </c:pt>
                <c:pt idx="256">
                  <c:v>50</c:v>
                </c:pt>
                <c:pt idx="257">
                  <c:v>50</c:v>
                </c:pt>
                <c:pt idx="258">
                  <c:v>50</c:v>
                </c:pt>
                <c:pt idx="259">
                  <c:v>50</c:v>
                </c:pt>
                <c:pt idx="260">
                  <c:v>50</c:v>
                </c:pt>
                <c:pt idx="261">
                  <c:v>50</c:v>
                </c:pt>
                <c:pt idx="262">
                  <c:v>50</c:v>
                </c:pt>
                <c:pt idx="263">
                  <c:v>50</c:v>
                </c:pt>
                <c:pt idx="264">
                  <c:v>50</c:v>
                </c:pt>
                <c:pt idx="265">
                  <c:v>50</c:v>
                </c:pt>
                <c:pt idx="266">
                  <c:v>50</c:v>
                </c:pt>
                <c:pt idx="267">
                  <c:v>50</c:v>
                </c:pt>
                <c:pt idx="268">
                  <c:v>50</c:v>
                </c:pt>
                <c:pt idx="269">
                  <c:v>50</c:v>
                </c:pt>
                <c:pt idx="270">
                  <c:v>50</c:v>
                </c:pt>
                <c:pt idx="271">
                  <c:v>50</c:v>
                </c:pt>
                <c:pt idx="272">
                  <c:v>50</c:v>
                </c:pt>
                <c:pt idx="273">
                  <c:v>50</c:v>
                </c:pt>
                <c:pt idx="274">
                  <c:v>50</c:v>
                </c:pt>
                <c:pt idx="275">
                  <c:v>50</c:v>
                </c:pt>
                <c:pt idx="276">
                  <c:v>50</c:v>
                </c:pt>
                <c:pt idx="277">
                  <c:v>50</c:v>
                </c:pt>
                <c:pt idx="278">
                  <c:v>50</c:v>
                </c:pt>
                <c:pt idx="279">
                  <c:v>50</c:v>
                </c:pt>
                <c:pt idx="280">
                  <c:v>50</c:v>
                </c:pt>
                <c:pt idx="281">
                  <c:v>50</c:v>
                </c:pt>
                <c:pt idx="282">
                  <c:v>50</c:v>
                </c:pt>
                <c:pt idx="283">
                  <c:v>50</c:v>
                </c:pt>
                <c:pt idx="284">
                  <c:v>50</c:v>
                </c:pt>
                <c:pt idx="285">
                  <c:v>50</c:v>
                </c:pt>
                <c:pt idx="286">
                  <c:v>50</c:v>
                </c:pt>
                <c:pt idx="287">
                  <c:v>50</c:v>
                </c:pt>
                <c:pt idx="288">
                  <c:v>50</c:v>
                </c:pt>
                <c:pt idx="289">
                  <c:v>50</c:v>
                </c:pt>
                <c:pt idx="290">
                  <c:v>50</c:v>
                </c:pt>
                <c:pt idx="291">
                  <c:v>50</c:v>
                </c:pt>
                <c:pt idx="292">
                  <c:v>50</c:v>
                </c:pt>
                <c:pt idx="293">
                  <c:v>50</c:v>
                </c:pt>
                <c:pt idx="294">
                  <c:v>50</c:v>
                </c:pt>
                <c:pt idx="295">
                  <c:v>50</c:v>
                </c:pt>
                <c:pt idx="296">
                  <c:v>50</c:v>
                </c:pt>
                <c:pt idx="297">
                  <c:v>50</c:v>
                </c:pt>
                <c:pt idx="298">
                  <c:v>50</c:v>
                </c:pt>
                <c:pt idx="299">
                  <c:v>50</c:v>
                </c:pt>
                <c:pt idx="300">
                  <c:v>50</c:v>
                </c:pt>
                <c:pt idx="301">
                  <c:v>50</c:v>
                </c:pt>
                <c:pt idx="302">
                  <c:v>50</c:v>
                </c:pt>
                <c:pt idx="303">
                  <c:v>50</c:v>
                </c:pt>
                <c:pt idx="304">
                  <c:v>50</c:v>
                </c:pt>
                <c:pt idx="305">
                  <c:v>50</c:v>
                </c:pt>
                <c:pt idx="306">
                  <c:v>50</c:v>
                </c:pt>
                <c:pt idx="307">
                  <c:v>50</c:v>
                </c:pt>
                <c:pt idx="308">
                  <c:v>50</c:v>
                </c:pt>
                <c:pt idx="309">
                  <c:v>50</c:v>
                </c:pt>
                <c:pt idx="310">
                  <c:v>50</c:v>
                </c:pt>
                <c:pt idx="311">
                  <c:v>50</c:v>
                </c:pt>
                <c:pt idx="312">
                  <c:v>50</c:v>
                </c:pt>
                <c:pt idx="313">
                  <c:v>50</c:v>
                </c:pt>
                <c:pt idx="314">
                  <c:v>50</c:v>
                </c:pt>
                <c:pt idx="315">
                  <c:v>50</c:v>
                </c:pt>
                <c:pt idx="316">
                  <c:v>50</c:v>
                </c:pt>
                <c:pt idx="317">
                  <c:v>50</c:v>
                </c:pt>
                <c:pt idx="318">
                  <c:v>50</c:v>
                </c:pt>
                <c:pt idx="319">
                  <c:v>50</c:v>
                </c:pt>
                <c:pt idx="320">
                  <c:v>50</c:v>
                </c:pt>
                <c:pt idx="321">
                  <c:v>50</c:v>
                </c:pt>
                <c:pt idx="322">
                  <c:v>50</c:v>
                </c:pt>
                <c:pt idx="323">
                  <c:v>50</c:v>
                </c:pt>
                <c:pt idx="324">
                  <c:v>50</c:v>
                </c:pt>
                <c:pt idx="325">
                  <c:v>50</c:v>
                </c:pt>
                <c:pt idx="326">
                  <c:v>50</c:v>
                </c:pt>
                <c:pt idx="32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08-4149-8471-4FF86EBC90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460</c:f>
              <c:numCache>
                <c:formatCode>m/d/yyyy</c:formatCode>
                <c:ptCount val="339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B$122:$B$449</c:f>
              <c:numCache>
                <c:formatCode>0</c:formatCode>
                <c:ptCount val="328"/>
                <c:pt idx="0">
                  <c:v>26.78994338977536</c:v>
                </c:pt>
                <c:pt idx="1">
                  <c:v>25.005193062796955</c:v>
                </c:pt>
                <c:pt idx="2">
                  <c:v>24.257653658826943</c:v>
                </c:pt>
                <c:pt idx="3">
                  <c:v>23.061590612474919</c:v>
                </c:pt>
                <c:pt idx="4">
                  <c:v>22.416837876550783</c:v>
                </c:pt>
                <c:pt idx="5">
                  <c:v>22.286018480856029</c:v>
                </c:pt>
                <c:pt idx="6">
                  <c:v>20.183563907190365</c:v>
                </c:pt>
                <c:pt idx="7">
                  <c:v>19.277172379876728</c:v>
                </c:pt>
                <c:pt idx="8">
                  <c:v>18.370780852563083</c:v>
                </c:pt>
                <c:pt idx="9">
                  <c:v>16.109474155553791</c:v>
                </c:pt>
                <c:pt idx="10">
                  <c:v>14.717182015659642</c:v>
                </c:pt>
                <c:pt idx="11">
                  <c:v>14.00701958188813</c:v>
                </c:pt>
                <c:pt idx="12">
                  <c:v>13.474397756559496</c:v>
                </c:pt>
                <c:pt idx="13">
                  <c:v>12.353088650604473</c:v>
                </c:pt>
                <c:pt idx="14">
                  <c:v>10.708501961870445</c:v>
                </c:pt>
                <c:pt idx="15">
                  <c:v>9.5217831580680468</c:v>
                </c:pt>
                <c:pt idx="16">
                  <c:v>9.2414558815792933</c:v>
                </c:pt>
                <c:pt idx="17">
                  <c:v>8.9330958774416622</c:v>
                </c:pt>
                <c:pt idx="18">
                  <c:v>8.8116207242965352</c:v>
                </c:pt>
                <c:pt idx="19">
                  <c:v>8.9704728476401634</c:v>
                </c:pt>
                <c:pt idx="20">
                  <c:v>8.4471952648611541</c:v>
                </c:pt>
                <c:pt idx="21">
                  <c:v>7.5221152524482617</c:v>
                </c:pt>
                <c:pt idx="22">
                  <c:v>7.3632631291046335</c:v>
                </c:pt>
                <c:pt idx="23">
                  <c:v>6.7465431208293731</c:v>
                </c:pt>
                <c:pt idx="24">
                  <c:v>6.5970352400353693</c:v>
                </c:pt>
                <c:pt idx="25">
                  <c:v>6.6250679676842443</c:v>
                </c:pt>
                <c:pt idx="26">
                  <c:v>6.6250679676842443</c:v>
                </c:pt>
                <c:pt idx="27">
                  <c:v>6.9334279718218763</c:v>
                </c:pt>
                <c:pt idx="28">
                  <c:v>7.4006400993031338</c:v>
                </c:pt>
                <c:pt idx="29">
                  <c:v>7.6062134353948885</c:v>
                </c:pt>
                <c:pt idx="30">
                  <c:v>8.2696546564182754</c:v>
                </c:pt>
                <c:pt idx="31">
                  <c:v>8.5967031456551553</c:v>
                </c:pt>
                <c:pt idx="32">
                  <c:v>9.1386692135334169</c:v>
                </c:pt>
                <c:pt idx="33">
                  <c:v>9.6058813410146744</c:v>
                </c:pt>
                <c:pt idx="34">
                  <c:v>9.3629310347244203</c:v>
                </c:pt>
                <c:pt idx="35">
                  <c:v>8.8863746646935358</c:v>
                </c:pt>
                <c:pt idx="36">
                  <c:v>10.21325710674031</c:v>
                </c:pt>
                <c:pt idx="37">
                  <c:v>11.04489469365695</c:v>
                </c:pt>
                <c:pt idx="38">
                  <c:v>12.156859557062345</c:v>
                </c:pt>
                <c:pt idx="39">
                  <c:v>12.521285016497727</c:v>
                </c:pt>
                <c:pt idx="40">
                  <c:v>12.979152901429361</c:v>
                </c:pt>
                <c:pt idx="41">
                  <c:v>14.035052309537004</c:v>
                </c:pt>
                <c:pt idx="42">
                  <c:v>16.016031730057541</c:v>
                </c:pt>
                <c:pt idx="43">
                  <c:v>15.81980263651541</c:v>
                </c:pt>
                <c:pt idx="44">
                  <c:v>15.455377177080029</c:v>
                </c:pt>
                <c:pt idx="45">
                  <c:v>15.062918989995774</c:v>
                </c:pt>
                <c:pt idx="46">
                  <c:v>15.371278994133405</c:v>
                </c:pt>
                <c:pt idx="47">
                  <c:v>14.997509292148399</c:v>
                </c:pt>
                <c:pt idx="48">
                  <c:v>14.801280198606268</c:v>
                </c:pt>
                <c:pt idx="49">
                  <c:v>14.586362619964889</c:v>
                </c:pt>
                <c:pt idx="50">
                  <c:v>14.343412313674635</c:v>
                </c:pt>
                <c:pt idx="51">
                  <c:v>14.268658373277633</c:v>
                </c:pt>
                <c:pt idx="52">
                  <c:v>13.754725033048249</c:v>
                </c:pt>
                <c:pt idx="53">
                  <c:v>13.100628054574489</c:v>
                </c:pt>
                <c:pt idx="54">
                  <c:v>12.754891080238357</c:v>
                </c:pt>
                <c:pt idx="55">
                  <c:v>12.558661986696228</c:v>
                </c:pt>
                <c:pt idx="56">
                  <c:v>12.156859557062345</c:v>
                </c:pt>
                <c:pt idx="57">
                  <c:v>11.867188038023967</c:v>
                </c:pt>
                <c:pt idx="58">
                  <c:v>11.829811067825464</c:v>
                </c:pt>
                <c:pt idx="59">
                  <c:v>11.362598940344206</c:v>
                </c:pt>
                <c:pt idx="60">
                  <c:v>11.269156514847955</c:v>
                </c:pt>
                <c:pt idx="61">
                  <c:v>11.231779544649454</c:v>
                </c:pt>
                <c:pt idx="62">
                  <c:v>10.783255902267445</c:v>
                </c:pt>
                <c:pt idx="63">
                  <c:v>10.643092264023068</c:v>
                </c:pt>
                <c:pt idx="64">
                  <c:v>10.708501961870445</c:v>
                </c:pt>
                <c:pt idx="65">
                  <c:v>10.316043774786188</c:v>
                </c:pt>
                <c:pt idx="66">
                  <c:v>10.680469234221569</c:v>
                </c:pt>
                <c:pt idx="67">
                  <c:v>11.04489469365695</c:v>
                </c:pt>
                <c:pt idx="68">
                  <c:v>11.325221970145705</c:v>
                </c:pt>
                <c:pt idx="69">
                  <c:v>11.540139548787085</c:v>
                </c:pt>
                <c:pt idx="70">
                  <c:v>11.717680157229962</c:v>
                </c:pt>
                <c:pt idx="71">
                  <c:v>11.82046682527584</c:v>
                </c:pt>
                <c:pt idx="72">
                  <c:v>12.044728646466844</c:v>
                </c:pt>
                <c:pt idx="73">
                  <c:v>12.455875318650351</c:v>
                </c:pt>
                <c:pt idx="74">
                  <c:v>12.325055922955599</c:v>
                </c:pt>
                <c:pt idx="75">
                  <c:v>12.044728646466844</c:v>
                </c:pt>
                <c:pt idx="76">
                  <c:v>12.418498348451852</c:v>
                </c:pt>
                <c:pt idx="77">
                  <c:v>12.782923807887233</c:v>
                </c:pt>
                <c:pt idx="78">
                  <c:v>12.680137139841355</c:v>
                </c:pt>
                <c:pt idx="79">
                  <c:v>12.465219561199977</c:v>
                </c:pt>
                <c:pt idx="80">
                  <c:v>11.979318948619468</c:v>
                </c:pt>
                <c:pt idx="81">
                  <c:v>11.913909250772091</c:v>
                </c:pt>
                <c:pt idx="82">
                  <c:v>12.194236527260847</c:v>
                </c:pt>
                <c:pt idx="83">
                  <c:v>12.175548042161596</c:v>
                </c:pt>
                <c:pt idx="84">
                  <c:v>11.745712884878838</c:v>
                </c:pt>
                <c:pt idx="85">
                  <c:v>12.128826829413471</c:v>
                </c:pt>
                <c:pt idx="86">
                  <c:v>12.568006229245851</c:v>
                </c:pt>
                <c:pt idx="87">
                  <c:v>12.680137139841355</c:v>
                </c:pt>
                <c:pt idx="88">
                  <c:v>12.661448654742104</c:v>
                </c:pt>
                <c:pt idx="89">
                  <c:v>12.418498348451852</c:v>
                </c:pt>
                <c:pt idx="90">
                  <c:v>12.670792897291729</c:v>
                </c:pt>
                <c:pt idx="91">
                  <c:v>13.025874114177487</c:v>
                </c:pt>
                <c:pt idx="92">
                  <c:v>13.138005024772989</c:v>
                </c:pt>
                <c:pt idx="93">
                  <c:v>13.997675339338505</c:v>
                </c:pt>
                <c:pt idx="94">
                  <c:v>15.184394143140901</c:v>
                </c:pt>
                <c:pt idx="95">
                  <c:v>15.875868091813164</c:v>
                </c:pt>
                <c:pt idx="96">
                  <c:v>16.436522644790674</c:v>
                </c:pt>
                <c:pt idx="97">
                  <c:v>17.856847512333697</c:v>
                </c:pt>
                <c:pt idx="98">
                  <c:v>20.576022094274624</c:v>
                </c:pt>
                <c:pt idx="99">
                  <c:v>21.697331200229645</c:v>
                </c:pt>
                <c:pt idx="100">
                  <c:v>22.771919093436537</c:v>
                </c:pt>
                <c:pt idx="101">
                  <c:v>24.042736080185563</c:v>
                </c:pt>
                <c:pt idx="102">
                  <c:v>24.453882752369065</c:v>
                </c:pt>
                <c:pt idx="103">
                  <c:v>24.416505782170567</c:v>
                </c:pt>
                <c:pt idx="104">
                  <c:v>25.369618522232336</c:v>
                </c:pt>
                <c:pt idx="105">
                  <c:v>25.126668215942079</c:v>
                </c:pt>
                <c:pt idx="106">
                  <c:v>26.453550657988853</c:v>
                </c:pt>
                <c:pt idx="107">
                  <c:v>27.771088857486003</c:v>
                </c:pt>
                <c:pt idx="108">
                  <c:v>27.789777342585253</c:v>
                </c:pt>
                <c:pt idx="109">
                  <c:v>28.275677955165765</c:v>
                </c:pt>
                <c:pt idx="110">
                  <c:v>28.752234325196646</c:v>
                </c:pt>
                <c:pt idx="111">
                  <c:v>28.621414929501896</c:v>
                </c:pt>
                <c:pt idx="112">
                  <c:v>28.995184631486904</c:v>
                </c:pt>
                <c:pt idx="113">
                  <c:v>28.985840388937277</c:v>
                </c:pt>
                <c:pt idx="114">
                  <c:v>28.256989470066515</c:v>
                </c:pt>
                <c:pt idx="115">
                  <c:v>29.107315542082404</c:v>
                </c:pt>
                <c:pt idx="116">
                  <c:v>30.191247677838923</c:v>
                </c:pt>
                <c:pt idx="117">
                  <c:v>30.807967686114186</c:v>
                </c:pt>
                <c:pt idx="118">
                  <c:v>32.639439225840718</c:v>
                </c:pt>
                <c:pt idx="119">
                  <c:v>31.490097392236823</c:v>
                </c:pt>
                <c:pt idx="120">
                  <c:v>33.47107681275736</c:v>
                </c:pt>
                <c:pt idx="121">
                  <c:v>37.563855049493185</c:v>
                </c:pt>
                <c:pt idx="122">
                  <c:v>40.292373873983735</c:v>
                </c:pt>
                <c:pt idx="123">
                  <c:v>41.535158133083875</c:v>
                </c:pt>
                <c:pt idx="124">
                  <c:v>42.133189656259887</c:v>
                </c:pt>
                <c:pt idx="125">
                  <c:v>43.506793311054793</c:v>
                </c:pt>
                <c:pt idx="126">
                  <c:v>49.720714606555532</c:v>
                </c:pt>
                <c:pt idx="127">
                  <c:v>52.645462524588204</c:v>
                </c:pt>
                <c:pt idx="128">
                  <c:v>53.299559503061971</c:v>
                </c:pt>
                <c:pt idx="129">
                  <c:v>55.056277102391498</c:v>
                </c:pt>
                <c:pt idx="130">
                  <c:v>56.140209238148017</c:v>
                </c:pt>
                <c:pt idx="131">
                  <c:v>56.327094089140523</c:v>
                </c:pt>
                <c:pt idx="132">
                  <c:v>61.204788700044858</c:v>
                </c:pt>
                <c:pt idx="133">
                  <c:v>64.65281420085654</c:v>
                </c:pt>
                <c:pt idx="134">
                  <c:v>68.876411833287136</c:v>
                </c:pt>
                <c:pt idx="135">
                  <c:v>74.006400993031349</c:v>
                </c:pt>
                <c:pt idx="136">
                  <c:v>81.136058058395349</c:v>
                </c:pt>
                <c:pt idx="137">
                  <c:v>85.714736907711682</c:v>
                </c:pt>
                <c:pt idx="138">
                  <c:v>89.994399995440006</c:v>
                </c:pt>
                <c:pt idx="139">
                  <c:v>101.14208135714284</c:v>
                </c:pt>
                <c:pt idx="140">
                  <c:v>117.41040763604026</c:v>
                </c:pt>
                <c:pt idx="141">
                  <c:v>134.05250361692268</c:v>
                </c:pt>
                <c:pt idx="142">
                  <c:v>153.72213418388367</c:v>
                </c:pt>
                <c:pt idx="143">
                  <c:v>176.6809381283127</c:v>
                </c:pt>
                <c:pt idx="144">
                  <c:v>191.61303772261374</c:v>
                </c:pt>
                <c:pt idx="145">
                  <c:v>201.36842694442242</c:v>
                </c:pt>
                <c:pt idx="146">
                  <c:v>217.70216292116723</c:v>
                </c:pt>
                <c:pt idx="147">
                  <c:v>246.12734875712698</c:v>
                </c:pt>
                <c:pt idx="148">
                  <c:v>270.30090423300726</c:v>
                </c:pt>
                <c:pt idx="149">
                  <c:v>276.94466068579078</c:v>
                </c:pt>
                <c:pt idx="150">
                  <c:v>291.16659784632026</c:v>
                </c:pt>
                <c:pt idx="151">
                  <c:v>312.70507692320632</c:v>
                </c:pt>
                <c:pt idx="152">
                  <c:v>321.60079583044944</c:v>
                </c:pt>
                <c:pt idx="153">
                  <c:v>352.72646776325092</c:v>
                </c:pt>
                <c:pt idx="154">
                  <c:v>386.83295306938277</c:v>
                </c:pt>
                <c:pt idx="155">
                  <c:v>420.62173412882737</c:v>
                </c:pt>
                <c:pt idx="156">
                  <c:v>459.29755404172596</c:v>
                </c:pt>
                <c:pt idx="157">
                  <c:v>491.97437023776513</c:v>
                </c:pt>
                <c:pt idx="158">
                  <c:v>498.36583214170884</c:v>
                </c:pt>
                <c:pt idx="159">
                  <c:v>500.43090974517594</c:v>
                </c:pt>
                <c:pt idx="160">
                  <c:v>516.0544832881493</c:v>
                </c:pt>
                <c:pt idx="161">
                  <c:v>559.4491456886085</c:v>
                </c:pt>
                <c:pt idx="162">
                  <c:v>597.63906498892663</c:v>
                </c:pt>
                <c:pt idx="163">
                  <c:v>615.93509190109262</c:v>
                </c:pt>
                <c:pt idx="164">
                  <c:v>662.67499313431779</c:v>
                </c:pt>
                <c:pt idx="165">
                  <c:v>694.80049901992913</c:v>
                </c:pt>
                <c:pt idx="166">
                  <c:v>719.89913450822235</c:v>
                </c:pt>
                <c:pt idx="167">
                  <c:v>741.14794206606996</c:v>
                </c:pt>
                <c:pt idx="168">
                  <c:v>815.54680124618551</c:v>
                </c:pt>
                <c:pt idx="169">
                  <c:v>821.45236253754877</c:v>
                </c:pt>
                <c:pt idx="170">
                  <c:v>850.11115443724907</c:v>
                </c:pt>
                <c:pt idx="171">
                  <c:v>931.51819552958364</c:v>
                </c:pt>
                <c:pt idx="172">
                  <c:v>980.4072725492224</c:v>
                </c:pt>
                <c:pt idx="173">
                  <c:v>1004.5060740847057</c:v>
                </c:pt>
                <c:pt idx="174">
                  <c:v>1032.1089665762986</c:v>
                </c:pt>
                <c:pt idx="175">
                  <c:v>1063.5523427557871</c:v>
                </c:pt>
                <c:pt idx="176">
                  <c:v>1099.4716111165465</c:v>
                </c:pt>
                <c:pt idx="177">
                  <c:v>1234.1782117119428</c:v>
                </c:pt>
                <c:pt idx="178">
                  <c:v>1210.0233447211617</c:v>
                </c:pt>
                <c:pt idx="179">
                  <c:v>1192.3907590300189</c:v>
                </c:pt>
                <c:pt idx="180">
                  <c:v>1202.0059846135832</c:v>
                </c:pt>
                <c:pt idx="181">
                  <c:v>1230.9637922748718</c:v>
                </c:pt>
                <c:pt idx="182">
                  <c:v>1194.6427214844787</c:v>
                </c:pt>
                <c:pt idx="183">
                  <c:v>1223.6846273287138</c:v>
                </c:pt>
                <c:pt idx="184">
                  <c:v>1136.7084176768026</c:v>
                </c:pt>
                <c:pt idx="185">
                  <c:v>1111.4696185502651</c:v>
                </c:pt>
                <c:pt idx="186">
                  <c:v>1097.0234195685446</c:v>
                </c:pt>
                <c:pt idx="187">
                  <c:v>1069.2523307110587</c:v>
                </c:pt>
                <c:pt idx="188">
                  <c:v>1050.2274528800217</c:v>
                </c:pt>
                <c:pt idx="189">
                  <c:v>1026.9976659016536</c:v>
                </c:pt>
                <c:pt idx="190">
                  <c:v>980.7810422512074</c:v>
                </c:pt>
                <c:pt idx="191">
                  <c:v>940.01211200719285</c:v>
                </c:pt>
                <c:pt idx="192">
                  <c:v>890.6277901324238</c:v>
                </c:pt>
                <c:pt idx="193">
                  <c:v>872.91110625833437</c:v>
                </c:pt>
                <c:pt idx="194">
                  <c:v>852.29770719386136</c:v>
                </c:pt>
                <c:pt idx="195">
                  <c:v>817.96696006653838</c:v>
                </c:pt>
                <c:pt idx="196">
                  <c:v>791.52275365109926</c:v>
                </c:pt>
                <c:pt idx="197">
                  <c:v>748.62333610577014</c:v>
                </c:pt>
                <c:pt idx="198">
                  <c:v>704.09802035680616</c:v>
                </c:pt>
                <c:pt idx="199">
                  <c:v>671.96317022864525</c:v>
                </c:pt>
                <c:pt idx="200">
                  <c:v>642.98667408225754</c:v>
                </c:pt>
                <c:pt idx="201">
                  <c:v>639.39848494320154</c:v>
                </c:pt>
                <c:pt idx="202">
                  <c:v>608.49707483159102</c:v>
                </c:pt>
                <c:pt idx="203">
                  <c:v>563.05602331276384</c:v>
                </c:pt>
                <c:pt idx="204">
                  <c:v>526.40790403313395</c:v>
                </c:pt>
                <c:pt idx="205">
                  <c:v>506.42991346203536</c:v>
                </c:pt>
                <c:pt idx="206">
                  <c:v>441.80513198882767</c:v>
                </c:pt>
                <c:pt idx="207">
                  <c:v>396.06506470841248</c:v>
                </c:pt>
                <c:pt idx="208">
                  <c:v>379.89952509756091</c:v>
                </c:pt>
                <c:pt idx="209">
                  <c:v>363.67792003141159</c:v>
                </c:pt>
                <c:pt idx="210">
                  <c:v>337.81305665404909</c:v>
                </c:pt>
                <c:pt idx="211">
                  <c:v>323.4789885829241</c:v>
                </c:pt>
                <c:pt idx="212">
                  <c:v>308.46279080567649</c:v>
                </c:pt>
                <c:pt idx="213">
                  <c:v>336.04699481216994</c:v>
                </c:pt>
                <c:pt idx="214" formatCode="General">
                  <c:v>336.075027539818</c:v>
                </c:pt>
                <c:pt idx="215" formatCode="General">
                  <c:v>335.29011116564999</c:v>
                </c:pt>
                <c:pt idx="216" formatCode="General">
                  <c:v>358.60399632696499</c:v>
                </c:pt>
                <c:pt idx="217" formatCode="General">
                  <c:v>368.90135161665199</c:v>
                </c:pt>
                <c:pt idx="218" formatCode="General">
                  <c:v>380.37608146759101</c:v>
                </c:pt>
                <c:pt idx="219" formatCode="General">
                  <c:v>388.64573612401</c:v>
                </c:pt>
                <c:pt idx="220" formatCode="General">
                  <c:v>404.31603087973099</c:v>
                </c:pt>
                <c:pt idx="221" formatCode="General">
                  <c:v>431.13400699715498</c:v>
                </c:pt>
                <c:pt idx="222" formatCode="General">
                  <c:v>438.91776104099301</c:v>
                </c:pt>
                <c:pt idx="223" formatCode="General">
                  <c:v>420.25730866939199</c:v>
                </c:pt>
                <c:pt idx="224" formatCode="General">
                  <c:v>440.79595379346802</c:v>
                </c:pt>
                <c:pt idx="225" formatCode="General">
                  <c:v>478.911119153389</c:v>
                </c:pt>
                <c:pt idx="226" formatCode="General">
                  <c:v>526.11823251409498</c:v>
                </c:pt>
                <c:pt idx="227" formatCode="General">
                  <c:v>587.36974242688802</c:v>
                </c:pt>
                <c:pt idx="228" formatCode="General">
                  <c:v>637.17455521638999</c:v>
                </c:pt>
                <c:pt idx="229" formatCode="General">
                  <c:v>679.05545032380996</c:v>
                </c:pt>
                <c:pt idx="230" formatCode="General">
                  <c:v>800.05404709890695</c:v>
                </c:pt>
                <c:pt idx="231" formatCode="General">
                  <c:v>950.73930245416204</c:v>
                </c:pt>
                <c:pt idx="232" formatCode="General">
                  <c:v>1086.7447527639499</c:v>
                </c:pt>
                <c:pt idx="233" formatCode="General">
                  <c:v>1229.2257631606401</c:v>
                </c:pt>
                <c:pt idx="234" formatCode="General">
                  <c:v>1354.4573018107101</c:v>
                </c:pt>
                <c:pt idx="235" formatCode="General">
                  <c:v>1439.1722047656101</c:v>
                </c:pt>
                <c:pt idx="236" formatCode="General">
                  <c:v>1492.0325848688401</c:v>
                </c:pt>
                <c:pt idx="237" formatCode="General">
                  <c:v>1586.27861522436</c:v>
                </c:pt>
                <c:pt idx="238" formatCode="General">
                  <c:v>1690.33610025699</c:v>
                </c:pt>
                <c:pt idx="239" formatCode="General">
                  <c:v>1958.3196323376901</c:v>
                </c:pt>
                <c:pt idx="240" formatCode="General">
                  <c:v>2031.9335751436399</c:v>
                </c:pt>
                <c:pt idx="241" formatCode="General">
                  <c:v>2224.8361183380998</c:v>
                </c:pt>
                <c:pt idx="242" formatCode="General">
                  <c:v>2224.1726771170802</c:v>
                </c:pt>
                <c:pt idx="243" formatCode="General">
                  <c:v>2327.3237706223899</c:v>
                </c:pt>
                <c:pt idx="244" formatCode="General">
                  <c:v>2319.4746068806999</c:v>
                </c:pt>
                <c:pt idx="245" formatCode="General">
                  <c:v>2483.9706527243002</c:v>
                </c:pt>
                <c:pt idx="246" formatCode="General">
                  <c:v>2377.80136887546</c:v>
                </c:pt>
                <c:pt idx="247" formatCode="General">
                  <c:v>2404.6473777205401</c:v>
                </c:pt>
                <c:pt idx="248" formatCode="General">
                  <c:v>2231.3397111526401</c:v>
                </c:pt>
                <c:pt idx="249" formatCode="General">
                  <c:v>2284.7981227790401</c:v>
                </c:pt>
                <c:pt idx="250" formatCode="General">
                  <c:v>2145.8398918235698</c:v>
                </c:pt>
                <c:pt idx="251" formatCode="General">
                  <c:v>2146.5220215296899</c:v>
                </c:pt>
                <c:pt idx="252" formatCode="General">
                  <c:v>1964.87929060753</c:v>
                </c:pt>
                <c:pt idx="253" formatCode="General">
                  <c:v>1831.37809730103</c:v>
                </c:pt>
                <c:pt idx="254" formatCode="General">
                  <c:v>1691.0275742056599</c:v>
                </c:pt>
                <c:pt idx="255" formatCode="General">
                  <c:v>1629.4863927738299</c:v>
                </c:pt>
                <c:pt idx="256" formatCode="General">
                  <c:v>1507.4973062884701</c:v>
                </c:pt>
                <c:pt idx="257" formatCode="General">
                  <c:v>1489.9581630228299</c:v>
                </c:pt>
                <c:pt idx="258" formatCode="General">
                  <c:v>1395.13278962923</c:v>
                </c:pt>
                <c:pt idx="259" formatCode="General">
                  <c:v>1306.1942890419</c:v>
                </c:pt>
                <c:pt idx="260" formatCode="General">
                  <c:v>1193.5120681359699</c:v>
                </c:pt>
                <c:pt idx="261" formatCode="General">
                  <c:v>1126.75679936145</c:v>
                </c:pt>
                <c:pt idx="262" formatCode="General">
                  <c:v>1048.5641777061801</c:v>
                </c:pt>
                <c:pt idx="263" formatCode="General">
                  <c:v>1023.04505130316</c:v>
                </c:pt>
                <c:pt idx="264" formatCode="General">
                  <c:v>995.74117457315697</c:v>
                </c:pt>
                <c:pt idx="265" formatCode="General">
                  <c:v>939.45145745421496</c:v>
                </c:pt>
                <c:pt idx="266" formatCode="General">
                  <c:v>807.94058781079002</c:v>
                </c:pt>
                <c:pt idx="267" formatCode="General">
                  <c:v>753.90283314630801</c:v>
                </c:pt>
                <c:pt idx="268" formatCode="General">
                  <c:v>702.58425306376603</c:v>
                </c:pt>
                <c:pt idx="269" formatCode="General">
                  <c:v>659.08680399526099</c:v>
                </c:pt>
                <c:pt idx="270" formatCode="General">
                  <c:v>634.50210184719697</c:v>
                </c:pt>
                <c:pt idx="271" formatCode="General">
                  <c:v>625.662448395252</c:v>
                </c:pt>
                <c:pt idx="272" formatCode="General">
                  <c:v>594.891857679336</c:v>
                </c:pt>
                <c:pt idx="273" formatCode="General">
                  <c:v>570.75567917365402</c:v>
                </c:pt>
                <c:pt idx="274" formatCode="General">
                  <c:v>549.80588737739504</c:v>
                </c:pt>
                <c:pt idx="275" formatCode="General">
                  <c:v>531.52854895032795</c:v>
                </c:pt>
                <c:pt idx="276" formatCode="General">
                  <c:v>523.47381187255098</c:v>
                </c:pt>
                <c:pt idx="277" formatCode="General">
                  <c:v>513.86793053153599</c:v>
                </c:pt>
                <c:pt idx="278" formatCode="General">
                  <c:v>506.84106013421803</c:v>
                </c:pt>
                <c:pt idx="279" formatCode="General">
                  <c:v>509.74711956715203</c:v>
                </c:pt>
                <c:pt idx="280" formatCode="General">
                  <c:v>499.12271578822799</c:v>
                </c:pt>
                <c:pt idx="281" formatCode="General">
                  <c:v>500.253369136733</c:v>
                </c:pt>
                <c:pt idx="282" formatCode="General">
                  <c:v>501.77648067232099</c:v>
                </c:pt>
                <c:pt idx="283" formatCode="General">
                  <c:v>502.70156068473398</c:v>
                </c:pt>
                <c:pt idx="284" formatCode="General">
                  <c:v>501.40271097033599</c:v>
                </c:pt>
                <c:pt idx="285" formatCode="General">
                  <c:v>503.05664190162003</c:v>
                </c:pt>
                <c:pt idx="286" formatCode="General">
                  <c:v>506.28040558124098</c:v>
                </c:pt>
                <c:pt idx="287" formatCode="General">
                  <c:v>508.35482742725799</c:v>
                </c:pt>
                <c:pt idx="288" formatCode="General">
                  <c:v>503.30893645046001</c:v>
                </c:pt>
                <c:pt idx="289" formatCode="General">
                  <c:v>502.48664310609303</c:v>
                </c:pt>
                <c:pt idx="290" formatCode="General">
                  <c:v>505.831881938859</c:v>
                </c:pt>
                <c:pt idx="291" formatCode="General">
                  <c:v>509.223841984373</c:v>
                </c:pt>
                <c:pt idx="292" formatCode="General">
                  <c:v>504.78532677330099</c:v>
                </c:pt>
                <c:pt idx="293" formatCode="General">
                  <c:v>501.03828551090101</c:v>
                </c:pt>
                <c:pt idx="294" formatCode="General">
                  <c:v>498.93583093723498</c:v>
                </c:pt>
                <c:pt idx="295" formatCode="General">
                  <c:v>498.24435698856303</c:v>
                </c:pt>
                <c:pt idx="296" formatCode="General">
                  <c:v>488.52634473695298</c:v>
                </c:pt>
                <c:pt idx="297" formatCode="General">
                  <c:v>477.60292519644099</c:v>
                </c:pt>
                <c:pt idx="298" formatCode="General">
                  <c:v>465.75442564351602</c:v>
                </c:pt>
                <c:pt idx="299" formatCode="General">
                  <c:v>465.46475412447802</c:v>
                </c:pt>
                <c:pt idx="300" formatCode="General">
                  <c:v>450.411179377032</c:v>
                </c:pt>
                <c:pt idx="301" formatCode="General">
                  <c:v>435.64727614862397</c:v>
                </c:pt>
                <c:pt idx="302" formatCode="General">
                  <c:v>425.49008449718201</c:v>
                </c:pt>
                <c:pt idx="303" formatCode="General">
                  <c:v>419.59386744836797</c:v>
                </c:pt>
                <c:pt idx="304" formatCode="General">
                  <c:v>404.92340664545702</c:v>
                </c:pt>
                <c:pt idx="305" formatCode="General">
                  <c:v>396.23326107430501</c:v>
                </c:pt>
                <c:pt idx="306" formatCode="General">
                  <c:v>390.73884645512601</c:v>
                </c:pt>
                <c:pt idx="307" formatCode="General">
                  <c:v>369.65823526317098</c:v>
                </c:pt>
                <c:pt idx="308" formatCode="General">
                  <c:v>349.016803471049</c:v>
                </c:pt>
                <c:pt idx="309" formatCode="General">
                  <c:v>329.356517146638</c:v>
                </c:pt>
                <c:pt idx="310" formatCode="General">
                  <c:v>315.32146483710102</c:v>
                </c:pt>
                <c:pt idx="311" formatCode="General">
                  <c:v>298.10000000000002</c:v>
                </c:pt>
                <c:pt idx="312" formatCode="General">
                  <c:v>294.89999999999998</c:v>
                </c:pt>
                <c:pt idx="313" formatCode="General">
                  <c:v>292.5</c:v>
                </c:pt>
                <c:pt idx="314" formatCode="General">
                  <c:v>275.5</c:v>
                </c:pt>
                <c:pt idx="315" formatCode="General">
                  <c:v>25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449</c:f>
              <c:numCache>
                <c:formatCode>m/d/yyyy</c:formatCode>
                <c:ptCount val="32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C$122:$C$449</c:f>
              <c:numCache>
                <c:formatCode>General</c:formatCode>
                <c:ptCount val="32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449</c:f>
              <c:numCache>
                <c:formatCode>m/d/yyyy</c:formatCode>
                <c:ptCount val="32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D$122:$D$449</c:f>
              <c:numCache>
                <c:formatCode>General</c:formatCode>
                <c:ptCount val="328"/>
                <c:pt idx="293" formatCode="0">
                  <c:v>480.21005582086298</c:v>
                </c:pt>
                <c:pt idx="294" formatCode="0">
                  <c:v>470.77354661738627</c:v>
                </c:pt>
                <c:pt idx="295" formatCode="0">
                  <c:v>459.70925877181264</c:v>
                </c:pt>
                <c:pt idx="296" formatCode="0">
                  <c:v>447.78501239833878</c:v>
                </c:pt>
                <c:pt idx="297" formatCode="0">
                  <c:v>434.14084896906456</c:v>
                </c:pt>
                <c:pt idx="298" formatCode="0">
                  <c:v>418.30072001318786</c:v>
                </c:pt>
                <c:pt idx="299" formatCode="0">
                  <c:v>400.15713071472129</c:v>
                </c:pt>
                <c:pt idx="300" formatCode="0">
                  <c:v>385.03875266618934</c:v>
                </c:pt>
                <c:pt idx="301" formatCode="0">
                  <c:v>371.53279685747043</c:v>
                </c:pt>
                <c:pt idx="302" formatCode="0">
                  <c:v>358.53360232412143</c:v>
                </c:pt>
                <c:pt idx="303" formatCode="0">
                  <c:v>345.16585413595783</c:v>
                </c:pt>
                <c:pt idx="304" formatCode="0">
                  <c:v>331.76739314322646</c:v>
                </c:pt>
                <c:pt idx="305" formatCode="0">
                  <c:v>318.74516400645149</c:v>
                </c:pt>
                <c:pt idx="306" formatCode="0">
                  <c:v>306.49843318501502</c:v>
                </c:pt>
                <c:pt idx="307" formatCode="0">
                  <c:v>295.33432872459588</c:v>
                </c:pt>
                <c:pt idx="308" formatCode="0">
                  <c:v>284.58484712584288</c:v>
                </c:pt>
                <c:pt idx="309" formatCode="0">
                  <c:v>273.97357314764531</c:v>
                </c:pt>
                <c:pt idx="310" formatCode="0">
                  <c:v>263.53121959457098</c:v>
                </c:pt>
                <c:pt idx="311" formatCode="0">
                  <c:v>253.54955811001469</c:v>
                </c:pt>
                <c:pt idx="312" formatCode="0">
                  <c:v>244.10537070539596</c:v>
                </c:pt>
                <c:pt idx="313" formatCode="0">
                  <c:v>235.14490997272119</c:v>
                </c:pt>
                <c:pt idx="314" formatCode="0">
                  <c:v>226.54532469371884</c:v>
                </c:pt>
                <c:pt idx="315" formatCode="0">
                  <c:v>218.18376365011741</c:v>
                </c:pt>
                <c:pt idx="316" formatCode="0">
                  <c:v>210.07558324420089</c:v>
                </c:pt>
                <c:pt idx="317" formatCode="0">
                  <c:v>202.30524368853088</c:v>
                </c:pt>
                <c:pt idx="318" formatCode="0">
                  <c:v>194.90345778767528</c:v>
                </c:pt>
                <c:pt idx="319" formatCode="0">
                  <c:v>187.82415633478226</c:v>
                </c:pt>
                <c:pt idx="320" formatCode="0">
                  <c:v>181.02127012300002</c:v>
                </c:pt>
                <c:pt idx="321" formatCode="0">
                  <c:v>174.45640814661874</c:v>
                </c:pt>
                <c:pt idx="322" formatCode="0">
                  <c:v>168.12957040563839</c:v>
                </c:pt>
                <c:pt idx="323" formatCode="0">
                  <c:v>162.06379150348496</c:v>
                </c:pt>
                <c:pt idx="324" formatCode="0">
                  <c:v>156.25907144015835</c:v>
                </c:pt>
                <c:pt idx="325" formatCode="0">
                  <c:v>150.69237561223272</c:v>
                </c:pt>
                <c:pt idx="326" formatCode="0">
                  <c:v>145.34066941628211</c:v>
                </c:pt>
                <c:pt idx="327" formatCode="0">
                  <c:v>140.18859645002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449</c:f>
              <c:numCache>
                <c:formatCode>m/d/yyyy</c:formatCode>
                <c:ptCount val="32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E$122:$E$449</c:f>
              <c:numCache>
                <c:formatCode>General</c:formatCode>
                <c:ptCount val="328"/>
                <c:pt idx="293" formatCode="0">
                  <c:v>483.09705945024234</c:v>
                </c:pt>
                <c:pt idx="294" formatCode="0">
                  <c:v>478.22907992623556</c:v>
                </c:pt>
                <c:pt idx="295" formatCode="0">
                  <c:v>472.71613150630378</c:v>
                </c:pt>
                <c:pt idx="296" formatCode="0">
                  <c:v>466.91141144297717</c:v>
                </c:pt>
                <c:pt idx="297" formatCode="0">
                  <c:v>460.2390546506083</c:v>
                </c:pt>
                <c:pt idx="298" formatCode="0">
                  <c:v>452.36889848009281</c:v>
                </c:pt>
                <c:pt idx="299" formatCode="0">
                  <c:v>443.28558652914654</c:v>
                </c:pt>
                <c:pt idx="300" formatCode="0">
                  <c:v>435.48453416890874</c:v>
                </c:pt>
                <c:pt idx="301" formatCode="0">
                  <c:v>428.37451991144781</c:v>
                </c:pt>
                <c:pt idx="302" formatCode="0">
                  <c:v>421.40271327454235</c:v>
                </c:pt>
                <c:pt idx="303" formatCode="0">
                  <c:v>414.1161003908162</c:v>
                </c:pt>
                <c:pt idx="304" formatCode="0">
                  <c:v>406.65288888082483</c:v>
                </c:pt>
                <c:pt idx="305" formatCode="0">
                  <c:v>399.25110297996918</c:v>
                </c:pt>
                <c:pt idx="306" formatCode="0">
                  <c:v>392.14876692365027</c:v>
                </c:pt>
                <c:pt idx="307" formatCode="0">
                  <c:v>385.51480113699131</c:v>
                </c:pt>
                <c:pt idx="308" formatCode="0">
                  <c:v>378.98065196517786</c:v>
                </c:pt>
                <c:pt idx="309" formatCode="0">
                  <c:v>372.40811178765466</c:v>
                </c:pt>
                <c:pt idx="310" formatCode="0">
                  <c:v>365.80485880556353</c:v>
                </c:pt>
                <c:pt idx="311" formatCode="0">
                  <c:v>359.36284804745372</c:v>
                </c:pt>
                <c:pt idx="312" formatCode="0">
                  <c:v>353.13582692131894</c:v>
                </c:pt>
                <c:pt idx="313" formatCode="0">
                  <c:v>347.0930826225914</c:v>
                </c:pt>
                <c:pt idx="314" formatCode="0">
                  <c:v>341.16551134099336</c:v>
                </c:pt>
                <c:pt idx="315" formatCode="0">
                  <c:v>335.27633106510507</c:v>
                </c:pt>
                <c:pt idx="316" formatCode="0">
                  <c:v>329.45625459949457</c:v>
                </c:pt>
                <c:pt idx="317" formatCode="0">
                  <c:v>323.75902935215549</c:v>
                </c:pt>
                <c:pt idx="318" formatCode="0">
                  <c:v>318.20768992651381</c:v>
                </c:pt>
                <c:pt idx="319" formatCode="0">
                  <c:v>312.78687992028546</c:v>
                </c:pt>
                <c:pt idx="320" formatCode="0">
                  <c:v>307.45820832776087</c:v>
                </c:pt>
                <c:pt idx="321" formatCode="0">
                  <c:v>302.20631874665577</c:v>
                </c:pt>
                <c:pt idx="322" formatCode="0">
                  <c:v>297.04656757925437</c:v>
                </c:pt>
                <c:pt idx="323" formatCode="0">
                  <c:v>291.98663302669848</c:v>
                </c:pt>
                <c:pt idx="324" formatCode="0">
                  <c:v>287.04187149127222</c:v>
                </c:pt>
                <c:pt idx="325" formatCode="0">
                  <c:v>282.19692657069135</c:v>
                </c:pt>
                <c:pt idx="326" formatCode="0">
                  <c:v>277.42876366153018</c:v>
                </c:pt>
                <c:pt idx="327" formatCode="0">
                  <c:v>272.75273916607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449</c:f>
              <c:numCache>
                <c:formatCode>m/d/yyyy</c:formatCode>
                <c:ptCount val="32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F$122:$F$449</c:f>
              <c:numCache>
                <c:formatCode>General</c:formatCode>
                <c:ptCount val="328"/>
                <c:pt idx="293" formatCode="0">
                  <c:v>488.87874491014298</c:v>
                </c:pt>
                <c:pt idx="294" formatCode="0">
                  <c:v>493.14782474507632</c:v>
                </c:pt>
                <c:pt idx="295" formatCode="0">
                  <c:v>498.729876975286</c:v>
                </c:pt>
                <c:pt idx="296" formatCode="0">
                  <c:v>505.16420953225384</c:v>
                </c:pt>
                <c:pt idx="297" formatCode="0">
                  <c:v>512.85776707650416</c:v>
                </c:pt>
                <c:pt idx="298" formatCode="0">
                  <c:v>522.04857384343791</c:v>
                </c:pt>
                <c:pt idx="299" formatCode="0">
                  <c:v>533.04375787873391</c:v>
                </c:pt>
                <c:pt idx="300" formatCode="0">
                  <c:v>542.74900412217949</c:v>
                </c:pt>
                <c:pt idx="301" formatCode="0">
                  <c:v>552.0242711016748</c:v>
                </c:pt>
                <c:pt idx="302" formatCode="0">
                  <c:v>561.52988411542924</c:v>
                </c:pt>
                <c:pt idx="303" formatCode="0">
                  <c:v>571.88009925480003</c:v>
                </c:pt>
                <c:pt idx="304" formatCode="0">
                  <c:v>582.7447538706823</c:v>
                </c:pt>
                <c:pt idx="305" formatCode="0">
                  <c:v>593.82439811853988</c:v>
                </c:pt>
                <c:pt idx="306" formatCode="0">
                  <c:v>604.85797315954562</c:v>
                </c:pt>
                <c:pt idx="307" formatCode="0">
                  <c:v>615.64584576400841</c:v>
                </c:pt>
                <c:pt idx="308" formatCode="0">
                  <c:v>626.71013360958204</c:v>
                </c:pt>
                <c:pt idx="309" formatCode="0">
                  <c:v>638.24279172481567</c:v>
                </c:pt>
                <c:pt idx="310" formatCode="0">
                  <c:v>650.17471629943145</c:v>
                </c:pt>
                <c:pt idx="311" formatCode="0">
                  <c:v>662.22949209231865</c:v>
                </c:pt>
                <c:pt idx="312" formatCode="0">
                  <c:v>674.3226588909157</c:v>
                </c:pt>
                <c:pt idx="313" formatCode="0">
                  <c:v>686.54635510892626</c:v>
                </c:pt>
                <c:pt idx="314" formatCode="0">
                  <c:v>699.01575376347978</c:v>
                </c:pt>
                <c:pt idx="315" formatCode="0">
                  <c:v>711.82299326827967</c:v>
                </c:pt>
                <c:pt idx="316" formatCode="0">
                  <c:v>724.92200441647446</c:v>
                </c:pt>
                <c:pt idx="317" formatCode="0">
                  <c:v>738.20529239207622</c:v>
                </c:pt>
                <c:pt idx="318" formatCode="0">
                  <c:v>751.63446618937542</c:v>
                </c:pt>
                <c:pt idx="319" formatCode="0">
                  <c:v>765.2786296186498</c:v>
                </c:pt>
                <c:pt idx="320" formatCode="0">
                  <c:v>779.19153008789294</c:v>
                </c:pt>
                <c:pt idx="321" formatCode="0">
                  <c:v>793.39620220053064</c:v>
                </c:pt>
                <c:pt idx="322" formatCode="0">
                  <c:v>807.86961135313732</c:v>
                </c:pt>
                <c:pt idx="323" formatCode="0">
                  <c:v>822.56568833886115</c:v>
                </c:pt>
                <c:pt idx="324" formatCode="0">
                  <c:v>837.48443315770191</c:v>
                </c:pt>
                <c:pt idx="325" formatCode="0">
                  <c:v>852.65655861422749</c:v>
                </c:pt>
                <c:pt idx="326" formatCode="0">
                  <c:v>868.11277751300577</c:v>
                </c:pt>
                <c:pt idx="327" formatCode="0">
                  <c:v>883.86076805517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449</c:f>
              <c:numCache>
                <c:formatCode>m/d/yyyy</c:formatCode>
                <c:ptCount val="32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  <c:pt idx="223">
                  <c:v>44571</c:v>
                </c:pt>
                <c:pt idx="224">
                  <c:v>44572</c:v>
                </c:pt>
                <c:pt idx="225">
                  <c:v>44573</c:v>
                </c:pt>
                <c:pt idx="226">
                  <c:v>44574</c:v>
                </c:pt>
                <c:pt idx="227">
                  <c:v>44575</c:v>
                </c:pt>
                <c:pt idx="228">
                  <c:v>44576</c:v>
                </c:pt>
                <c:pt idx="229">
                  <c:v>44577</c:v>
                </c:pt>
                <c:pt idx="230">
                  <c:v>44578</c:v>
                </c:pt>
                <c:pt idx="231">
                  <c:v>44579</c:v>
                </c:pt>
                <c:pt idx="232">
                  <c:v>44580</c:v>
                </c:pt>
                <c:pt idx="233">
                  <c:v>44581</c:v>
                </c:pt>
                <c:pt idx="234">
                  <c:v>44582</c:v>
                </c:pt>
                <c:pt idx="235">
                  <c:v>44583</c:v>
                </c:pt>
                <c:pt idx="236">
                  <c:v>44584</c:v>
                </c:pt>
                <c:pt idx="237">
                  <c:v>44585</c:v>
                </c:pt>
                <c:pt idx="238">
                  <c:v>44586</c:v>
                </c:pt>
                <c:pt idx="239">
                  <c:v>44587</c:v>
                </c:pt>
                <c:pt idx="240">
                  <c:v>44588</c:v>
                </c:pt>
                <c:pt idx="241">
                  <c:v>44589</c:v>
                </c:pt>
                <c:pt idx="242">
                  <c:v>44590</c:v>
                </c:pt>
                <c:pt idx="243">
                  <c:v>44591</c:v>
                </c:pt>
                <c:pt idx="244">
                  <c:v>44592</c:v>
                </c:pt>
                <c:pt idx="245">
                  <c:v>44593</c:v>
                </c:pt>
                <c:pt idx="246">
                  <c:v>44594</c:v>
                </c:pt>
                <c:pt idx="247">
                  <c:v>44595</c:v>
                </c:pt>
                <c:pt idx="248">
                  <c:v>44596</c:v>
                </c:pt>
                <c:pt idx="249">
                  <c:v>44597</c:v>
                </c:pt>
                <c:pt idx="250">
                  <c:v>44598</c:v>
                </c:pt>
                <c:pt idx="251">
                  <c:v>44599</c:v>
                </c:pt>
                <c:pt idx="252">
                  <c:v>44600</c:v>
                </c:pt>
                <c:pt idx="253">
                  <c:v>44601</c:v>
                </c:pt>
                <c:pt idx="254">
                  <c:v>44602</c:v>
                </c:pt>
                <c:pt idx="255">
                  <c:v>44603</c:v>
                </c:pt>
                <c:pt idx="256">
                  <c:v>44604</c:v>
                </c:pt>
                <c:pt idx="257">
                  <c:v>44605</c:v>
                </c:pt>
                <c:pt idx="258">
                  <c:v>44606</c:v>
                </c:pt>
                <c:pt idx="259">
                  <c:v>44607</c:v>
                </c:pt>
                <c:pt idx="260">
                  <c:v>44608</c:v>
                </c:pt>
                <c:pt idx="261">
                  <c:v>44609</c:v>
                </c:pt>
                <c:pt idx="262">
                  <c:v>44610</c:v>
                </c:pt>
                <c:pt idx="263">
                  <c:v>44611</c:v>
                </c:pt>
                <c:pt idx="264">
                  <c:v>44612</c:v>
                </c:pt>
                <c:pt idx="265">
                  <c:v>44613</c:v>
                </c:pt>
                <c:pt idx="266">
                  <c:v>44614</c:v>
                </c:pt>
                <c:pt idx="267">
                  <c:v>44615</c:v>
                </c:pt>
                <c:pt idx="268">
                  <c:v>44616</c:v>
                </c:pt>
                <c:pt idx="269">
                  <c:v>44617</c:v>
                </c:pt>
                <c:pt idx="270">
                  <c:v>44618</c:v>
                </c:pt>
                <c:pt idx="271">
                  <c:v>44619</c:v>
                </c:pt>
                <c:pt idx="272">
                  <c:v>44620</c:v>
                </c:pt>
                <c:pt idx="273">
                  <c:v>44621</c:v>
                </c:pt>
                <c:pt idx="274">
                  <c:v>44622</c:v>
                </c:pt>
                <c:pt idx="275">
                  <c:v>44623</c:v>
                </c:pt>
                <c:pt idx="276">
                  <c:v>44624</c:v>
                </c:pt>
                <c:pt idx="277">
                  <c:v>44625</c:v>
                </c:pt>
                <c:pt idx="278">
                  <c:v>44626</c:v>
                </c:pt>
                <c:pt idx="279">
                  <c:v>44627</c:v>
                </c:pt>
                <c:pt idx="280">
                  <c:v>44628</c:v>
                </c:pt>
                <c:pt idx="281">
                  <c:v>44629</c:v>
                </c:pt>
                <c:pt idx="282">
                  <c:v>44630</c:v>
                </c:pt>
                <c:pt idx="283">
                  <c:v>44631</c:v>
                </c:pt>
                <c:pt idx="284">
                  <c:v>44632</c:v>
                </c:pt>
                <c:pt idx="285">
                  <c:v>44633</c:v>
                </c:pt>
                <c:pt idx="286">
                  <c:v>44634</c:v>
                </c:pt>
                <c:pt idx="287">
                  <c:v>44635</c:v>
                </c:pt>
                <c:pt idx="288">
                  <c:v>44636</c:v>
                </c:pt>
                <c:pt idx="289">
                  <c:v>44637</c:v>
                </c:pt>
                <c:pt idx="290">
                  <c:v>44638</c:v>
                </c:pt>
                <c:pt idx="291">
                  <c:v>44639</c:v>
                </c:pt>
                <c:pt idx="292">
                  <c:v>44640</c:v>
                </c:pt>
                <c:pt idx="293">
                  <c:v>44641</c:v>
                </c:pt>
                <c:pt idx="294">
                  <c:v>44642</c:v>
                </c:pt>
                <c:pt idx="295">
                  <c:v>44643</c:v>
                </c:pt>
                <c:pt idx="296">
                  <c:v>44644</c:v>
                </c:pt>
                <c:pt idx="297">
                  <c:v>44645</c:v>
                </c:pt>
                <c:pt idx="298">
                  <c:v>44646</c:v>
                </c:pt>
                <c:pt idx="299">
                  <c:v>44647</c:v>
                </c:pt>
                <c:pt idx="300">
                  <c:v>44648</c:v>
                </c:pt>
                <c:pt idx="301">
                  <c:v>44649</c:v>
                </c:pt>
                <c:pt idx="302">
                  <c:v>44650</c:v>
                </c:pt>
                <c:pt idx="303">
                  <c:v>44651</c:v>
                </c:pt>
                <c:pt idx="304">
                  <c:v>44652</c:v>
                </c:pt>
                <c:pt idx="305">
                  <c:v>44653</c:v>
                </c:pt>
                <c:pt idx="306">
                  <c:v>44654</c:v>
                </c:pt>
                <c:pt idx="307">
                  <c:v>44655</c:v>
                </c:pt>
                <c:pt idx="308">
                  <c:v>44656</c:v>
                </c:pt>
                <c:pt idx="309">
                  <c:v>44657</c:v>
                </c:pt>
                <c:pt idx="310">
                  <c:v>44658</c:v>
                </c:pt>
                <c:pt idx="311">
                  <c:v>44659</c:v>
                </c:pt>
                <c:pt idx="312">
                  <c:v>44660</c:v>
                </c:pt>
                <c:pt idx="313">
                  <c:v>44661</c:v>
                </c:pt>
                <c:pt idx="314">
                  <c:v>44662</c:v>
                </c:pt>
                <c:pt idx="315">
                  <c:v>44663</c:v>
                </c:pt>
                <c:pt idx="316">
                  <c:v>44664</c:v>
                </c:pt>
                <c:pt idx="317">
                  <c:v>44665</c:v>
                </c:pt>
                <c:pt idx="318">
                  <c:v>44666</c:v>
                </c:pt>
                <c:pt idx="319">
                  <c:v>44667</c:v>
                </c:pt>
                <c:pt idx="320">
                  <c:v>44668</c:v>
                </c:pt>
                <c:pt idx="321">
                  <c:v>44669</c:v>
                </c:pt>
                <c:pt idx="322">
                  <c:v>44670</c:v>
                </c:pt>
                <c:pt idx="323">
                  <c:v>44671</c:v>
                </c:pt>
                <c:pt idx="324">
                  <c:v>44672</c:v>
                </c:pt>
                <c:pt idx="325">
                  <c:v>44673</c:v>
                </c:pt>
                <c:pt idx="326">
                  <c:v>44674</c:v>
                </c:pt>
                <c:pt idx="327">
                  <c:v>44675</c:v>
                </c:pt>
              </c:numCache>
            </c:numRef>
          </c:cat>
          <c:val>
            <c:numRef>
              <c:f>Sheet1!$G$122:$G$449</c:f>
              <c:numCache>
                <c:formatCode>General</c:formatCode>
                <c:ptCount val="328"/>
                <c:pt idx="293" formatCode="0">
                  <c:v>491.78110494180635</c:v>
                </c:pt>
                <c:pt idx="294" formatCode="0">
                  <c:v>500.62639265735163</c:v>
                </c:pt>
                <c:pt idx="295" formatCode="0">
                  <c:v>511.75210611206091</c:v>
                </c:pt>
                <c:pt idx="296" formatCode="0">
                  <c:v>524.305964979176</c:v>
                </c:pt>
                <c:pt idx="297" formatCode="0">
                  <c:v>539.40130842428198</c:v>
                </c:pt>
                <c:pt idx="298" formatCode="0">
                  <c:v>557.68310534330396</c:v>
                </c:pt>
                <c:pt idx="299" formatCode="0">
                  <c:v>579.69650801732166</c:v>
                </c:pt>
                <c:pt idx="300" formatCode="0">
                  <c:v>599.58304897501466</c:v>
                </c:pt>
                <c:pt idx="301" formatCode="0">
                  <c:v>618.87069024363427</c:v>
                </c:pt>
                <c:pt idx="302" formatCode="0">
                  <c:v>638.90311702302461</c:v>
                </c:pt>
                <c:pt idx="303" formatCode="0">
                  <c:v>660.98562350732004</c:v>
                </c:pt>
                <c:pt idx="304" formatCode="0">
                  <c:v>684.5653792142989</c:v>
                </c:pt>
                <c:pt idx="305" formatCode="0">
                  <c:v>708.98973704689411</c:v>
                </c:pt>
                <c:pt idx="306" formatCode="0">
                  <c:v>733.69051012060004</c:v>
                </c:pt>
                <c:pt idx="307" formatCode="0">
                  <c:v>758.27611017717641</c:v>
                </c:pt>
                <c:pt idx="308" formatCode="0">
                  <c:v>783.88291098563434</c:v>
                </c:pt>
                <c:pt idx="309" formatCode="0">
                  <c:v>810.98696101677569</c:v>
                </c:pt>
                <c:pt idx="310" formatCode="0">
                  <c:v>839.46540905232916</c:v>
                </c:pt>
                <c:pt idx="311" formatCode="0">
                  <c:v>868.67328619636942</c:v>
                </c:pt>
                <c:pt idx="312" formatCode="0">
                  <c:v>898.48006302948295</c:v>
                </c:pt>
                <c:pt idx="313" formatCode="0">
                  <c:v>929.08537278136112</c:v>
                </c:pt>
                <c:pt idx="314" formatCode="0">
                  <c:v>960.82705630225018</c:v>
                </c:pt>
                <c:pt idx="315" formatCode="0">
                  <c:v>993.95081602869323</c:v>
                </c:pt>
                <c:pt idx="316" formatCode="0">
                  <c:v>1028.3338007424188</c:v>
                </c:pt>
                <c:pt idx="317" formatCode="0">
                  <c:v>1063.761020811452</c:v>
                </c:pt>
                <c:pt idx="318" formatCode="0">
                  <c:v>1100.1710506266568</c:v>
                </c:pt>
                <c:pt idx="319" formatCode="0">
                  <c:v>1137.7558452165822</c:v>
                </c:pt>
                <c:pt idx="320" formatCode="0">
                  <c:v>1176.71503781092</c:v>
                </c:pt>
                <c:pt idx="321" formatCode="0">
                  <c:v>1217.1177322199471</c:v>
                </c:pt>
                <c:pt idx="322" formatCode="0">
                  <c:v>1258.9178592368123</c:v>
                </c:pt>
                <c:pt idx="323" formatCode="0">
                  <c:v>1302.0616714535211</c:v>
                </c:pt>
                <c:pt idx="324" formatCode="0">
                  <c:v>1346.5798816746424</c:v>
                </c:pt>
                <c:pt idx="325" formatCode="0">
                  <c:v>1392.5799847161634</c:v>
                </c:pt>
                <c:pt idx="326" formatCode="0">
                  <c:v>1440.2001881986389</c:v>
                </c:pt>
                <c:pt idx="327" formatCode="0">
                  <c:v>1489.4865613289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675"/>
          <c:min val="44593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800" b="1" i="0" baseline="0" dirty="0">
                <a:effectLst/>
              </a:rPr>
              <a:t>7 denní počet nových příjmů na JIP na 100 000 obyv.</a:t>
            </a:r>
            <a:endParaRPr lang="cs-CZ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0"/>
          <c:tx>
            <c:strRef>
              <c:f>'64'!$F$2</c:f>
              <c:strCache>
                <c:ptCount val="1"/>
                <c:pt idx="0">
                  <c:v>17.03.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F$3:$F$16</c:f>
              <c:numCache>
                <c:formatCode>General</c:formatCode>
                <c:ptCount val="14"/>
                <c:pt idx="0">
                  <c:v>1.079835864948</c:v>
                </c:pt>
                <c:pt idx="1">
                  <c:v>0.70547732595799995</c:v>
                </c:pt>
                <c:pt idx="2">
                  <c:v>2.9920299801399999</c:v>
                </c:pt>
                <c:pt idx="3">
                  <c:v>2.8393534386589998</c:v>
                </c:pt>
                <c:pt idx="4">
                  <c:v>0.813232926174</c:v>
                </c:pt>
                <c:pt idx="5">
                  <c:v>2.0670033913610002</c:v>
                </c:pt>
                <c:pt idx="6">
                  <c:v>2.462360090067</c:v>
                </c:pt>
                <c:pt idx="7">
                  <c:v>3.701977727159</c:v>
                </c:pt>
                <c:pt idx="8">
                  <c:v>1.15161733138</c:v>
                </c:pt>
                <c:pt idx="9">
                  <c:v>1.4148740997860001</c:v>
                </c:pt>
                <c:pt idx="10">
                  <c:v>5.752996604722</c:v>
                </c:pt>
                <c:pt idx="11">
                  <c:v>1.142630793138</c:v>
                </c:pt>
                <c:pt idx="12">
                  <c:v>1.2352617828529999</c:v>
                </c:pt>
                <c:pt idx="13">
                  <c:v>1.905180184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64-4D1F-9C43-C8BD577298DE}"/>
            </c:ext>
          </c:extLst>
        </c:ser>
        <c:ser>
          <c:idx val="2"/>
          <c:order val="1"/>
          <c:tx>
            <c:strRef>
              <c:f>'64'!$E$2</c:f>
              <c:strCache>
                <c:ptCount val="1"/>
                <c:pt idx="0">
                  <c:v>24.03.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E$3:$E$16</c:f>
              <c:numCache>
                <c:formatCode>General</c:formatCode>
                <c:ptCount val="14"/>
                <c:pt idx="0">
                  <c:v>1.2598085091060001</c:v>
                </c:pt>
                <c:pt idx="1">
                  <c:v>1.851877980641</c:v>
                </c:pt>
                <c:pt idx="2">
                  <c:v>2.4310243588640001</c:v>
                </c:pt>
                <c:pt idx="3">
                  <c:v>4.6646520777980003</c:v>
                </c:pt>
                <c:pt idx="4">
                  <c:v>2.0330823154359998</c:v>
                </c:pt>
                <c:pt idx="5">
                  <c:v>1.7717171925949999</c:v>
                </c:pt>
                <c:pt idx="6">
                  <c:v>1.6415733933779999</c:v>
                </c:pt>
                <c:pt idx="7">
                  <c:v>3.701977727159</c:v>
                </c:pt>
                <c:pt idx="8">
                  <c:v>0.69097039882800004</c:v>
                </c:pt>
                <c:pt idx="9">
                  <c:v>1.1790617498210001</c:v>
                </c:pt>
                <c:pt idx="10">
                  <c:v>4.1381203647999998</c:v>
                </c:pt>
                <c:pt idx="11">
                  <c:v>0.57131539656899999</c:v>
                </c:pt>
                <c:pt idx="12">
                  <c:v>1.2352617828529999</c:v>
                </c:pt>
                <c:pt idx="13">
                  <c:v>2.406543391481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64-4D1F-9C43-C8BD577298DE}"/>
            </c:ext>
          </c:extLst>
        </c:ser>
        <c:ser>
          <c:idx val="1"/>
          <c:order val="2"/>
          <c:tx>
            <c:strRef>
              <c:f>'64'!$D$2</c:f>
              <c:strCache>
                <c:ptCount val="1"/>
                <c:pt idx="0">
                  <c:v>31.03.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D$3:$D$16</c:f>
              <c:numCache>
                <c:formatCode>General</c:formatCode>
                <c:ptCount val="14"/>
                <c:pt idx="0">
                  <c:v>0.71989057663199996</c:v>
                </c:pt>
                <c:pt idx="1">
                  <c:v>0.97003132319300001</c:v>
                </c:pt>
                <c:pt idx="2">
                  <c:v>2.4310243588640001</c:v>
                </c:pt>
                <c:pt idx="3">
                  <c:v>2.636542478755</c:v>
                </c:pt>
                <c:pt idx="4">
                  <c:v>1.2198493892619999</c:v>
                </c:pt>
                <c:pt idx="5">
                  <c:v>2.0670033913610002</c:v>
                </c:pt>
                <c:pt idx="6">
                  <c:v>0.82078669668899995</c:v>
                </c:pt>
                <c:pt idx="7">
                  <c:v>3.701977727159</c:v>
                </c:pt>
                <c:pt idx="8">
                  <c:v>0.92129386510400002</c:v>
                </c:pt>
                <c:pt idx="9">
                  <c:v>2.1223111496790001</c:v>
                </c:pt>
                <c:pt idx="10">
                  <c:v>4.6427691897759997</c:v>
                </c:pt>
                <c:pt idx="11">
                  <c:v>1.523507724184</c:v>
                </c:pt>
                <c:pt idx="12">
                  <c:v>1.2352617828529999</c:v>
                </c:pt>
                <c:pt idx="13">
                  <c:v>2.306270750168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4-4D1F-9C43-C8BD577298DE}"/>
            </c:ext>
          </c:extLst>
        </c:ser>
        <c:ser>
          <c:idx val="0"/>
          <c:order val="3"/>
          <c:tx>
            <c:strRef>
              <c:f>'64'!$C$2</c:f>
              <c:strCache>
                <c:ptCount val="1"/>
                <c:pt idx="0">
                  <c:v>07.04.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64'!$A$3:$B$16</c:f>
              <c:multiLvlStrCache>
                <c:ptCount val="14"/>
                <c:lvl>
                  <c:pt idx="0">
                    <c:v>CZ010</c:v>
                  </c:pt>
                  <c:pt idx="1">
                    <c:v>CZ020</c:v>
                  </c:pt>
                  <c:pt idx="2">
                    <c:v>CZ031</c:v>
                  </c:pt>
                  <c:pt idx="3">
                    <c:v>CZ032</c:v>
                  </c:pt>
                  <c:pt idx="4">
                    <c:v>CZ041</c:v>
                  </c:pt>
                  <c:pt idx="5">
                    <c:v>CZ042</c:v>
                  </c:pt>
                  <c:pt idx="6">
                    <c:v>CZ051</c:v>
                  </c:pt>
                  <c:pt idx="7">
                    <c:v>CZ052</c:v>
                  </c:pt>
                  <c:pt idx="8">
                    <c:v>CZ053</c:v>
                  </c:pt>
                  <c:pt idx="9">
                    <c:v>CZ063</c:v>
                  </c:pt>
                  <c:pt idx="10">
                    <c:v>CZ064</c:v>
                  </c:pt>
                  <c:pt idx="11">
                    <c:v>CZ071</c:v>
                  </c:pt>
                  <c:pt idx="12">
                    <c:v>CZ072</c:v>
                  </c:pt>
                  <c:pt idx="13">
                    <c:v>CZ080</c:v>
                  </c:pt>
                </c:lvl>
                <c:lvl>
                  <c:pt idx="0">
                    <c:v>Hlavní město Praha</c:v>
                  </c:pt>
                  <c:pt idx="1">
                    <c:v>Středočeský kraj</c:v>
                  </c:pt>
                  <c:pt idx="2">
                    <c:v>Jihočeský kraj</c:v>
                  </c:pt>
                  <c:pt idx="3">
                    <c:v>Plzeňský kraj</c:v>
                  </c:pt>
                  <c:pt idx="4">
                    <c:v>Karlovarský kraj</c:v>
                  </c:pt>
                  <c:pt idx="5">
                    <c:v>Ústecký kraj</c:v>
                  </c:pt>
                  <c:pt idx="6">
                    <c:v>Liberecký kraj</c:v>
                  </c:pt>
                  <c:pt idx="7">
                    <c:v>Královéhradecký kraj</c:v>
                  </c:pt>
                  <c:pt idx="8">
                    <c:v>Pardubický kraj</c:v>
                  </c:pt>
                  <c:pt idx="9">
                    <c:v>Kraj Vysočina</c:v>
                  </c:pt>
                  <c:pt idx="10">
                    <c:v>Jihomoravský kraj</c:v>
                  </c:pt>
                  <c:pt idx="11">
                    <c:v>Olomoucký kraj</c:v>
                  </c:pt>
                  <c:pt idx="12">
                    <c:v>Zlínský kraj</c:v>
                  </c:pt>
                  <c:pt idx="13">
                    <c:v>Moravskoslezský kraj</c:v>
                  </c:pt>
                </c:lvl>
              </c:multiLvlStrCache>
            </c:multiLvlStrRef>
          </c:cat>
          <c:val>
            <c:numRef>
              <c:f>'64'!$C$3:$C$16</c:f>
              <c:numCache>
                <c:formatCode>General</c:formatCode>
                <c:ptCount val="14"/>
                <c:pt idx="0">
                  <c:v>1.079835864948</c:v>
                </c:pt>
                <c:pt idx="1">
                  <c:v>0.793661991703</c:v>
                </c:pt>
                <c:pt idx="2">
                  <c:v>1.4960149900699999</c:v>
                </c:pt>
                <c:pt idx="3">
                  <c:v>1.8252986391379999</c:v>
                </c:pt>
                <c:pt idx="4">
                  <c:v>1.2198493892619999</c:v>
                </c:pt>
                <c:pt idx="5">
                  <c:v>0.88585859629700003</c:v>
                </c:pt>
                <c:pt idx="6">
                  <c:v>1.6415733933779999</c:v>
                </c:pt>
                <c:pt idx="7">
                  <c:v>2.8309241442980002</c:v>
                </c:pt>
                <c:pt idx="8">
                  <c:v>0.46064693255200001</c:v>
                </c:pt>
                <c:pt idx="9">
                  <c:v>2.3581234996429998</c:v>
                </c:pt>
                <c:pt idx="10">
                  <c:v>2.7251036548680001</c:v>
                </c:pt>
                <c:pt idx="11">
                  <c:v>1.7139461897070001</c:v>
                </c:pt>
                <c:pt idx="12">
                  <c:v>1.2352617828529999</c:v>
                </c:pt>
                <c:pt idx="13">
                  <c:v>1.905180184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4-4D1F-9C43-C8BD57729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7945871"/>
        <c:axId val="2040461823"/>
      </c:barChart>
      <c:catAx>
        <c:axId val="1517945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40461823"/>
        <c:crosses val="autoZero"/>
        <c:auto val="1"/>
        <c:lblAlgn val="ctr"/>
        <c:lblOffset val="100"/>
        <c:noMultiLvlLbl val="0"/>
      </c:catAx>
      <c:valAx>
        <c:axId val="20404618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179458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91</c:f>
              <c:numCache>
                <c:formatCode>m/d/yyyy</c:formatCode>
                <c:ptCount val="59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  <c:pt idx="585">
                  <c:v>44660</c:v>
                </c:pt>
                <c:pt idx="586">
                  <c:v>44661</c:v>
                </c:pt>
                <c:pt idx="587">
                  <c:v>44662</c:v>
                </c:pt>
                <c:pt idx="588">
                  <c:v>44663</c:v>
                </c:pt>
                <c:pt idx="589">
                  <c:v>44664</c:v>
                </c:pt>
              </c:numCache>
            </c:numRef>
          </c:cat>
          <c:val>
            <c:numRef>
              <c:f>Sheet1!$B$2:$B$591</c:f>
              <c:numCache>
                <c:formatCode>0.0</c:formatCode>
                <c:ptCount val="590"/>
                <c:pt idx="0">
                  <c:v>7.4753899999999998E-2</c:v>
                </c:pt>
                <c:pt idx="1">
                  <c:v>8.4098099999999995E-2</c:v>
                </c:pt>
                <c:pt idx="2">
                  <c:v>0.10278660000000001</c:v>
                </c:pt>
                <c:pt idx="3">
                  <c:v>0.1308193</c:v>
                </c:pt>
                <c:pt idx="4">
                  <c:v>0.1401636</c:v>
                </c:pt>
                <c:pt idx="5">
                  <c:v>0.1588521</c:v>
                </c:pt>
                <c:pt idx="6">
                  <c:v>0.16819629999999999</c:v>
                </c:pt>
                <c:pt idx="7">
                  <c:v>0.1308193</c:v>
                </c:pt>
                <c:pt idx="8">
                  <c:v>0.1401636</c:v>
                </c:pt>
                <c:pt idx="9">
                  <c:v>0.16819629999999999</c:v>
                </c:pt>
                <c:pt idx="10">
                  <c:v>0.17754059999999999</c:v>
                </c:pt>
                <c:pt idx="11">
                  <c:v>0.1588521</c:v>
                </c:pt>
                <c:pt idx="12">
                  <c:v>0.16819629999999999</c:v>
                </c:pt>
                <c:pt idx="13">
                  <c:v>0.1588521</c:v>
                </c:pt>
                <c:pt idx="14">
                  <c:v>0.25229449999999998</c:v>
                </c:pt>
                <c:pt idx="15">
                  <c:v>0.24295030000000001</c:v>
                </c:pt>
                <c:pt idx="16">
                  <c:v>0.27098299999999997</c:v>
                </c:pt>
                <c:pt idx="17">
                  <c:v>0.27098299999999997</c:v>
                </c:pt>
                <c:pt idx="18">
                  <c:v>0.28967150000000003</c:v>
                </c:pt>
                <c:pt idx="19">
                  <c:v>0.34573690000000001</c:v>
                </c:pt>
                <c:pt idx="20">
                  <c:v>0.4018024</c:v>
                </c:pt>
                <c:pt idx="21">
                  <c:v>0.37376969999999998</c:v>
                </c:pt>
                <c:pt idx="22">
                  <c:v>0.46721210000000002</c:v>
                </c:pt>
                <c:pt idx="23">
                  <c:v>0.53262180000000003</c:v>
                </c:pt>
                <c:pt idx="24">
                  <c:v>0.57934300000000005</c:v>
                </c:pt>
                <c:pt idx="25">
                  <c:v>0.59803150000000005</c:v>
                </c:pt>
                <c:pt idx="26">
                  <c:v>0.57934300000000005</c:v>
                </c:pt>
                <c:pt idx="27">
                  <c:v>0.60737569999999996</c:v>
                </c:pt>
                <c:pt idx="28">
                  <c:v>0.64475269999999996</c:v>
                </c:pt>
                <c:pt idx="29">
                  <c:v>0.63540839999999998</c:v>
                </c:pt>
                <c:pt idx="30">
                  <c:v>0.61672000000000005</c:v>
                </c:pt>
                <c:pt idx="31">
                  <c:v>0.7008181</c:v>
                </c:pt>
                <c:pt idx="32">
                  <c:v>0.73819509999999999</c:v>
                </c:pt>
                <c:pt idx="33">
                  <c:v>0.76622780000000001</c:v>
                </c:pt>
                <c:pt idx="34">
                  <c:v>1.0091781</c:v>
                </c:pt>
                <c:pt idx="35">
                  <c:v>1.1119648</c:v>
                </c:pt>
                <c:pt idx="36">
                  <c:v>1.2708169</c:v>
                </c:pt>
                <c:pt idx="37">
                  <c:v>1.3549150999999999</c:v>
                </c:pt>
                <c:pt idx="38">
                  <c:v>1.4950787999999999</c:v>
                </c:pt>
                <c:pt idx="39">
                  <c:v>1.6072097000000001</c:v>
                </c:pt>
                <c:pt idx="40">
                  <c:v>1.7006521000000001</c:v>
                </c:pt>
                <c:pt idx="41">
                  <c:v>1.6165539</c:v>
                </c:pt>
                <c:pt idx="42">
                  <c:v>1.6445866</c:v>
                </c:pt>
                <c:pt idx="43">
                  <c:v>1.6819636</c:v>
                </c:pt>
                <c:pt idx="44">
                  <c:v>1.7660617999999999</c:v>
                </c:pt>
                <c:pt idx="45">
                  <c:v>1.8688484999999999</c:v>
                </c:pt>
                <c:pt idx="46">
                  <c:v>1.8034387999999999</c:v>
                </c:pt>
                <c:pt idx="47">
                  <c:v>1.9249139</c:v>
                </c:pt>
                <c:pt idx="48">
                  <c:v>2.1398315000000001</c:v>
                </c:pt>
                <c:pt idx="49">
                  <c:v>2.2332738999999999</c:v>
                </c:pt>
                <c:pt idx="50">
                  <c:v>2.3921260000000002</c:v>
                </c:pt>
                <c:pt idx="51">
                  <c:v>2.5509781999999999</c:v>
                </c:pt>
                <c:pt idx="52">
                  <c:v>2.504257</c:v>
                </c:pt>
                <c:pt idx="53">
                  <c:v>2.7752400000000002</c:v>
                </c:pt>
                <c:pt idx="54">
                  <c:v>2.8686824</c:v>
                </c:pt>
                <c:pt idx="55">
                  <c:v>3.0462229999999999</c:v>
                </c:pt>
                <c:pt idx="56">
                  <c:v>3.3078618</c:v>
                </c:pt>
                <c:pt idx="57">
                  <c:v>3.1863866999999999</c:v>
                </c:pt>
                <c:pt idx="58">
                  <c:v>3.2704848000000002</c:v>
                </c:pt>
                <c:pt idx="59">
                  <c:v>3.3639272999999998</c:v>
                </c:pt>
                <c:pt idx="60">
                  <c:v>3.3639272999999998</c:v>
                </c:pt>
                <c:pt idx="61">
                  <c:v>3.2517963999999999</c:v>
                </c:pt>
                <c:pt idx="62">
                  <c:v>3.3078618</c:v>
                </c:pt>
                <c:pt idx="63">
                  <c:v>3.1303212</c:v>
                </c:pt>
                <c:pt idx="64">
                  <c:v>3.1022884999999998</c:v>
                </c:pt>
                <c:pt idx="65">
                  <c:v>3.0742557000000001</c:v>
                </c:pt>
                <c:pt idx="66">
                  <c:v>3.1022884999999998</c:v>
                </c:pt>
                <c:pt idx="67">
                  <c:v>3.0088461</c:v>
                </c:pt>
                <c:pt idx="68">
                  <c:v>2.9154035999999999</c:v>
                </c:pt>
                <c:pt idx="69">
                  <c:v>2.5603224</c:v>
                </c:pt>
                <c:pt idx="70">
                  <c:v>2.5416338999999999</c:v>
                </c:pt>
                <c:pt idx="71">
                  <c:v>2.5790109000000001</c:v>
                </c:pt>
                <c:pt idx="72">
                  <c:v>2.3360606000000002</c:v>
                </c:pt>
                <c:pt idx="73">
                  <c:v>2.0931103000000002</c:v>
                </c:pt>
                <c:pt idx="74">
                  <c:v>2.0090121000000001</c:v>
                </c:pt>
                <c:pt idx="75">
                  <c:v>1.9436024000000001</c:v>
                </c:pt>
                <c:pt idx="76">
                  <c:v>1.9529466</c:v>
                </c:pt>
                <c:pt idx="77">
                  <c:v>1.7099963</c:v>
                </c:pt>
                <c:pt idx="78">
                  <c:v>1.6072097000000001</c:v>
                </c:pt>
                <c:pt idx="79">
                  <c:v>1.6352424000000001</c:v>
                </c:pt>
                <c:pt idx="80">
                  <c:v>1.5511442</c:v>
                </c:pt>
                <c:pt idx="81">
                  <c:v>1.5698327000000001</c:v>
                </c:pt>
                <c:pt idx="82">
                  <c:v>1.5698327000000001</c:v>
                </c:pt>
                <c:pt idx="83">
                  <c:v>1.3922920999999999</c:v>
                </c:pt>
                <c:pt idx="84">
                  <c:v>1.4390133000000001</c:v>
                </c:pt>
                <c:pt idx="85">
                  <c:v>1.4296690999999999</c:v>
                </c:pt>
                <c:pt idx="86">
                  <c:v>1.3268823999999999</c:v>
                </c:pt>
                <c:pt idx="87">
                  <c:v>1.3549150999999999</c:v>
                </c:pt>
                <c:pt idx="88">
                  <c:v>1.2240956999999999</c:v>
                </c:pt>
                <c:pt idx="89">
                  <c:v>1.1960630000000001</c:v>
                </c:pt>
                <c:pt idx="90">
                  <c:v>1.2334400000000001</c:v>
                </c:pt>
                <c:pt idx="91">
                  <c:v>1.1867188</c:v>
                </c:pt>
                <c:pt idx="92">
                  <c:v>1.1586860000000001</c:v>
                </c:pt>
                <c:pt idx="93">
                  <c:v>1.2334400000000001</c:v>
                </c:pt>
                <c:pt idx="94">
                  <c:v>1.2614726999999999</c:v>
                </c:pt>
                <c:pt idx="95">
                  <c:v>1.2801612</c:v>
                </c:pt>
                <c:pt idx="96">
                  <c:v>1.3175380999999999</c:v>
                </c:pt>
                <c:pt idx="97">
                  <c:v>1.3175380999999999</c:v>
                </c:pt>
                <c:pt idx="98">
                  <c:v>1.4016363000000001</c:v>
                </c:pt>
                <c:pt idx="99">
                  <c:v>1.3642593999999999</c:v>
                </c:pt>
                <c:pt idx="100">
                  <c:v>1.3455709</c:v>
                </c:pt>
                <c:pt idx="101">
                  <c:v>1.2521285</c:v>
                </c:pt>
                <c:pt idx="102">
                  <c:v>1.2895053999999999</c:v>
                </c:pt>
                <c:pt idx="103">
                  <c:v>1.3081939</c:v>
                </c:pt>
                <c:pt idx="104">
                  <c:v>1.4109806</c:v>
                </c:pt>
                <c:pt idx="105">
                  <c:v>1.3736036</c:v>
                </c:pt>
                <c:pt idx="106">
                  <c:v>1.3549150999999999</c:v>
                </c:pt>
                <c:pt idx="107">
                  <c:v>1.3362266</c:v>
                </c:pt>
                <c:pt idx="108">
                  <c:v>1.4016363000000001</c:v>
                </c:pt>
                <c:pt idx="109">
                  <c:v>1.3642593999999999</c:v>
                </c:pt>
                <c:pt idx="110">
                  <c:v>1.3829477999999999</c:v>
                </c:pt>
                <c:pt idx="111">
                  <c:v>1.2988497000000001</c:v>
                </c:pt>
                <c:pt idx="112">
                  <c:v>1.2895053999999999</c:v>
                </c:pt>
                <c:pt idx="113">
                  <c:v>1.4857345</c:v>
                </c:pt>
                <c:pt idx="114">
                  <c:v>1.4109806</c:v>
                </c:pt>
                <c:pt idx="115">
                  <c:v>1.4390133000000001</c:v>
                </c:pt>
                <c:pt idx="116">
                  <c:v>1.4950787999999999</c:v>
                </c:pt>
                <c:pt idx="117">
                  <c:v>1.6352424000000001</c:v>
                </c:pt>
                <c:pt idx="118">
                  <c:v>1.8968811999999999</c:v>
                </c:pt>
                <c:pt idx="119">
                  <c:v>2.1585200000000002</c:v>
                </c:pt>
                <c:pt idx="120">
                  <c:v>2.1865527</c:v>
                </c:pt>
                <c:pt idx="121">
                  <c:v>2.3360606000000002</c:v>
                </c:pt>
                <c:pt idx="122">
                  <c:v>2.2986835999999999</c:v>
                </c:pt>
                <c:pt idx="123">
                  <c:v>2.3640933</c:v>
                </c:pt>
                <c:pt idx="124">
                  <c:v>2.3360606000000002</c:v>
                </c:pt>
                <c:pt idx="125">
                  <c:v>2.2052412000000001</c:v>
                </c:pt>
                <c:pt idx="126">
                  <c:v>2.2239296999999998</c:v>
                </c:pt>
                <c:pt idx="127">
                  <c:v>2.2239296999999998</c:v>
                </c:pt>
                <c:pt idx="128">
                  <c:v>2.2052412000000001</c:v>
                </c:pt>
                <c:pt idx="129">
                  <c:v>2.3640933</c:v>
                </c:pt>
                <c:pt idx="130">
                  <c:v>2.429503</c:v>
                </c:pt>
                <c:pt idx="131">
                  <c:v>2.3547490999999998</c:v>
                </c:pt>
                <c:pt idx="132">
                  <c:v>2.2799950999999998</c:v>
                </c:pt>
                <c:pt idx="133">
                  <c:v>2.0650776</c:v>
                </c:pt>
                <c:pt idx="134">
                  <c:v>1.9809794000000001</c:v>
                </c:pt>
                <c:pt idx="135">
                  <c:v>2.0650776</c:v>
                </c:pt>
                <c:pt idx="136">
                  <c:v>1.9903236</c:v>
                </c:pt>
                <c:pt idx="137">
                  <c:v>1.8034387999999999</c:v>
                </c:pt>
                <c:pt idx="138">
                  <c:v>1.7286847999999999</c:v>
                </c:pt>
                <c:pt idx="139">
                  <c:v>1.7660617999999999</c:v>
                </c:pt>
                <c:pt idx="140">
                  <c:v>1.7940944999999999</c:v>
                </c:pt>
                <c:pt idx="141">
                  <c:v>1.7847503</c:v>
                </c:pt>
                <c:pt idx="142">
                  <c:v>1.5604884999999999</c:v>
                </c:pt>
                <c:pt idx="143">
                  <c:v>1.5418000000000001</c:v>
                </c:pt>
                <c:pt idx="144">
                  <c:v>1.6165539</c:v>
                </c:pt>
                <c:pt idx="145">
                  <c:v>1.6072097000000001</c:v>
                </c:pt>
                <c:pt idx="146">
                  <c:v>1.6165539</c:v>
                </c:pt>
                <c:pt idx="147">
                  <c:v>1.6258982</c:v>
                </c:pt>
                <c:pt idx="148">
                  <c:v>1.4950787999999999</c:v>
                </c:pt>
                <c:pt idx="149">
                  <c:v>1.5418000000000001</c:v>
                </c:pt>
                <c:pt idx="150">
                  <c:v>1.5885212</c:v>
                </c:pt>
                <c:pt idx="151">
                  <c:v>1.5978654000000001</c:v>
                </c:pt>
                <c:pt idx="152">
                  <c:v>1.6258982</c:v>
                </c:pt>
                <c:pt idx="153">
                  <c:v>1.6632750999999999</c:v>
                </c:pt>
                <c:pt idx="154">
                  <c:v>1.5604884999999999</c:v>
                </c:pt>
                <c:pt idx="155">
                  <c:v>1.6258982</c:v>
                </c:pt>
                <c:pt idx="156">
                  <c:v>1.7660617999999999</c:v>
                </c:pt>
                <c:pt idx="157">
                  <c:v>1.7847503</c:v>
                </c:pt>
                <c:pt idx="158">
                  <c:v>1.7847503</c:v>
                </c:pt>
                <c:pt idx="159">
                  <c:v>1.7380291000000001</c:v>
                </c:pt>
                <c:pt idx="160">
                  <c:v>1.6352424000000001</c:v>
                </c:pt>
                <c:pt idx="161">
                  <c:v>1.812783</c:v>
                </c:pt>
                <c:pt idx="162">
                  <c:v>1.8875369</c:v>
                </c:pt>
                <c:pt idx="163">
                  <c:v>1.7940944999999999</c:v>
                </c:pt>
                <c:pt idx="164">
                  <c:v>1.7006521000000001</c:v>
                </c:pt>
                <c:pt idx="165">
                  <c:v>1.5698327000000001</c:v>
                </c:pt>
                <c:pt idx="166">
                  <c:v>1.6819636</c:v>
                </c:pt>
                <c:pt idx="167">
                  <c:v>1.6819636</c:v>
                </c:pt>
                <c:pt idx="168">
                  <c:v>1.7099963</c:v>
                </c:pt>
                <c:pt idx="169">
                  <c:v>1.7847503</c:v>
                </c:pt>
                <c:pt idx="170">
                  <c:v>1.8688484999999999</c:v>
                </c:pt>
                <c:pt idx="171">
                  <c:v>1.8408157000000001</c:v>
                </c:pt>
                <c:pt idx="172">
                  <c:v>2.0837659999999998</c:v>
                </c:pt>
                <c:pt idx="173">
                  <c:v>2.1398315000000001</c:v>
                </c:pt>
                <c:pt idx="174">
                  <c:v>2.2519624</c:v>
                </c:pt>
                <c:pt idx="175">
                  <c:v>2.1865527</c:v>
                </c:pt>
                <c:pt idx="176">
                  <c:v>2.1678641999999999</c:v>
                </c:pt>
                <c:pt idx="177">
                  <c:v>2.2332738999999999</c:v>
                </c:pt>
                <c:pt idx="178">
                  <c:v>2.3173721</c:v>
                </c:pt>
                <c:pt idx="179">
                  <c:v>2.2052412000000001</c:v>
                </c:pt>
                <c:pt idx="180">
                  <c:v>2.2332738999999999</c:v>
                </c:pt>
                <c:pt idx="181">
                  <c:v>2.2332738999999999</c:v>
                </c:pt>
                <c:pt idx="182">
                  <c:v>2.2799950999999998</c:v>
                </c:pt>
                <c:pt idx="183">
                  <c:v>2.2519624</c:v>
                </c:pt>
                <c:pt idx="184">
                  <c:v>2.1772084999999999</c:v>
                </c:pt>
                <c:pt idx="185">
                  <c:v>2.2893393999999998</c:v>
                </c:pt>
                <c:pt idx="186">
                  <c:v>2.3547490999999998</c:v>
                </c:pt>
                <c:pt idx="187">
                  <c:v>2.1958969000000002</c:v>
                </c:pt>
                <c:pt idx="188">
                  <c:v>2.3360606000000002</c:v>
                </c:pt>
                <c:pt idx="189">
                  <c:v>2.2332738999999999</c:v>
                </c:pt>
                <c:pt idx="190">
                  <c:v>2.2145853999999998</c:v>
                </c:pt>
                <c:pt idx="191">
                  <c:v>2.3267163000000002</c:v>
                </c:pt>
                <c:pt idx="192">
                  <c:v>2.4575357000000002</c:v>
                </c:pt>
                <c:pt idx="193">
                  <c:v>2.3547490999999998</c:v>
                </c:pt>
                <c:pt idx="194">
                  <c:v>2.3827818000000001</c:v>
                </c:pt>
                <c:pt idx="195">
                  <c:v>2.3173721</c:v>
                </c:pt>
                <c:pt idx="196">
                  <c:v>2.2613066000000002</c:v>
                </c:pt>
                <c:pt idx="197">
                  <c:v>2.2986835999999999</c:v>
                </c:pt>
                <c:pt idx="198">
                  <c:v>2.1304873</c:v>
                </c:pt>
                <c:pt idx="199">
                  <c:v>1.8875369</c:v>
                </c:pt>
                <c:pt idx="200">
                  <c:v>1.8781927</c:v>
                </c:pt>
                <c:pt idx="201">
                  <c:v>1.8034387999999999</c:v>
                </c:pt>
                <c:pt idx="202">
                  <c:v>1.775406</c:v>
                </c:pt>
                <c:pt idx="203">
                  <c:v>1.9249139</c:v>
                </c:pt>
                <c:pt idx="204">
                  <c:v>1.8034387999999999</c:v>
                </c:pt>
                <c:pt idx="205">
                  <c:v>1.8595041999999999</c:v>
                </c:pt>
                <c:pt idx="206">
                  <c:v>1.812783</c:v>
                </c:pt>
                <c:pt idx="207">
                  <c:v>1.7847503</c:v>
                </c:pt>
                <c:pt idx="208">
                  <c:v>1.8408157000000001</c:v>
                </c:pt>
                <c:pt idx="209">
                  <c:v>1.7567174999999999</c:v>
                </c:pt>
                <c:pt idx="210">
                  <c:v>1.5604884999999999</c:v>
                </c:pt>
                <c:pt idx="211">
                  <c:v>1.5418000000000001</c:v>
                </c:pt>
                <c:pt idx="212">
                  <c:v>1.4950787999999999</c:v>
                </c:pt>
                <c:pt idx="213">
                  <c:v>1.4577017999999999</c:v>
                </c:pt>
                <c:pt idx="214">
                  <c:v>1.4670460000000001</c:v>
                </c:pt>
                <c:pt idx="215">
                  <c:v>1.4763903</c:v>
                </c:pt>
                <c:pt idx="216">
                  <c:v>1.2521285</c:v>
                </c:pt>
                <c:pt idx="217">
                  <c:v>1.3175380999999999</c:v>
                </c:pt>
                <c:pt idx="218">
                  <c:v>1.3268823999999999</c:v>
                </c:pt>
                <c:pt idx="219">
                  <c:v>1.2708169</c:v>
                </c:pt>
                <c:pt idx="220">
                  <c:v>1.2521285</c:v>
                </c:pt>
                <c:pt idx="221">
                  <c:v>1.3081939</c:v>
                </c:pt>
                <c:pt idx="222">
                  <c:v>1.2801612</c:v>
                </c:pt>
                <c:pt idx="223">
                  <c:v>1.4577017999999999</c:v>
                </c:pt>
                <c:pt idx="224">
                  <c:v>1.3175380999999999</c:v>
                </c:pt>
                <c:pt idx="225">
                  <c:v>1.2521285</c:v>
                </c:pt>
                <c:pt idx="226">
                  <c:v>1.1773745</c:v>
                </c:pt>
                <c:pt idx="227">
                  <c:v>1.1493418</c:v>
                </c:pt>
                <c:pt idx="228">
                  <c:v>1.0932763000000001</c:v>
                </c:pt>
                <c:pt idx="229">
                  <c:v>1.0372109</c:v>
                </c:pt>
                <c:pt idx="230">
                  <c:v>0.93442420000000004</c:v>
                </c:pt>
                <c:pt idx="231">
                  <c:v>0.97180120000000003</c:v>
                </c:pt>
                <c:pt idx="232">
                  <c:v>0.93442420000000004</c:v>
                </c:pt>
                <c:pt idx="233">
                  <c:v>0.92508000000000001</c:v>
                </c:pt>
                <c:pt idx="234">
                  <c:v>0.91573570000000004</c:v>
                </c:pt>
                <c:pt idx="235">
                  <c:v>0.8596703</c:v>
                </c:pt>
                <c:pt idx="236">
                  <c:v>0.8596703</c:v>
                </c:pt>
                <c:pt idx="237">
                  <c:v>0.79426059999999998</c:v>
                </c:pt>
                <c:pt idx="238">
                  <c:v>0.7195066</c:v>
                </c:pt>
                <c:pt idx="239">
                  <c:v>0.77557209999999999</c:v>
                </c:pt>
                <c:pt idx="240">
                  <c:v>0.75688359999999999</c:v>
                </c:pt>
                <c:pt idx="241">
                  <c:v>0.68212969999999995</c:v>
                </c:pt>
                <c:pt idx="242">
                  <c:v>0.61672000000000005</c:v>
                </c:pt>
                <c:pt idx="243">
                  <c:v>0.58868719999999997</c:v>
                </c:pt>
                <c:pt idx="244">
                  <c:v>0.55131030000000003</c:v>
                </c:pt>
                <c:pt idx="245">
                  <c:v>0.59803150000000005</c:v>
                </c:pt>
                <c:pt idx="246">
                  <c:v>0.50458899999999995</c:v>
                </c:pt>
                <c:pt idx="247">
                  <c:v>0.46721210000000002</c:v>
                </c:pt>
                <c:pt idx="248">
                  <c:v>0.48590060000000002</c:v>
                </c:pt>
                <c:pt idx="249">
                  <c:v>0.51393330000000004</c:v>
                </c:pt>
                <c:pt idx="250">
                  <c:v>0.52327749999999995</c:v>
                </c:pt>
                <c:pt idx="251">
                  <c:v>0.49524479999999999</c:v>
                </c:pt>
                <c:pt idx="252">
                  <c:v>0.43917929999999999</c:v>
                </c:pt>
                <c:pt idx="253">
                  <c:v>0.45786779999999999</c:v>
                </c:pt>
                <c:pt idx="254">
                  <c:v>0.44852360000000002</c:v>
                </c:pt>
                <c:pt idx="255">
                  <c:v>0.41114659999999997</c:v>
                </c:pt>
                <c:pt idx="256">
                  <c:v>0.38311390000000001</c:v>
                </c:pt>
                <c:pt idx="257">
                  <c:v>0.32704840000000002</c:v>
                </c:pt>
                <c:pt idx="258">
                  <c:v>0.2990157</c:v>
                </c:pt>
                <c:pt idx="259">
                  <c:v>0.28967150000000003</c:v>
                </c:pt>
                <c:pt idx="260">
                  <c:v>0.2616387</c:v>
                </c:pt>
                <c:pt idx="261">
                  <c:v>0.22426180000000001</c:v>
                </c:pt>
                <c:pt idx="262">
                  <c:v>0.22426180000000001</c:v>
                </c:pt>
                <c:pt idx="263">
                  <c:v>0.24295030000000001</c:v>
                </c:pt>
                <c:pt idx="264">
                  <c:v>0.24295030000000001</c:v>
                </c:pt>
                <c:pt idx="265">
                  <c:v>0.22426180000000001</c:v>
                </c:pt>
                <c:pt idx="266">
                  <c:v>0.18688479999999999</c:v>
                </c:pt>
                <c:pt idx="267">
                  <c:v>0.17754059999999999</c:v>
                </c:pt>
                <c:pt idx="268">
                  <c:v>0.17754059999999999</c:v>
                </c:pt>
                <c:pt idx="269">
                  <c:v>0.1495078</c:v>
                </c:pt>
                <c:pt idx="270">
                  <c:v>0.11213090000000001</c:v>
                </c:pt>
                <c:pt idx="271">
                  <c:v>0.1214751</c:v>
                </c:pt>
                <c:pt idx="272">
                  <c:v>0.1401636</c:v>
                </c:pt>
                <c:pt idx="273">
                  <c:v>0.1308193</c:v>
                </c:pt>
                <c:pt idx="274">
                  <c:v>0.10278660000000001</c:v>
                </c:pt>
                <c:pt idx="275">
                  <c:v>0.10278660000000001</c:v>
                </c:pt>
                <c:pt idx="276">
                  <c:v>0.10278660000000001</c:v>
                </c:pt>
                <c:pt idx="277">
                  <c:v>9.3442399999999995E-2</c:v>
                </c:pt>
                <c:pt idx="278">
                  <c:v>8.4098099999999995E-2</c:v>
                </c:pt>
                <c:pt idx="279">
                  <c:v>4.6721199999999997E-2</c:v>
                </c:pt>
                <c:pt idx="280">
                  <c:v>4.6721199999999997E-2</c:v>
                </c:pt>
                <c:pt idx="281">
                  <c:v>4.6721199999999997E-2</c:v>
                </c:pt>
                <c:pt idx="282">
                  <c:v>3.7376899999999998E-2</c:v>
                </c:pt>
                <c:pt idx="283">
                  <c:v>3.7376899999999998E-2</c:v>
                </c:pt>
                <c:pt idx="284">
                  <c:v>3.7376899999999998E-2</c:v>
                </c:pt>
                <c:pt idx="285">
                  <c:v>2.8032700000000001E-2</c:v>
                </c:pt>
                <c:pt idx="286">
                  <c:v>3.7376899999999998E-2</c:v>
                </c:pt>
                <c:pt idx="287">
                  <c:v>4.6721199999999997E-2</c:v>
                </c:pt>
                <c:pt idx="288">
                  <c:v>4.6721199999999997E-2</c:v>
                </c:pt>
                <c:pt idx="289">
                  <c:v>3.7376899999999998E-2</c:v>
                </c:pt>
                <c:pt idx="290">
                  <c:v>4.6721199999999997E-2</c:v>
                </c:pt>
                <c:pt idx="291">
                  <c:v>5.6065400000000001E-2</c:v>
                </c:pt>
                <c:pt idx="292">
                  <c:v>6.5409599999999998E-2</c:v>
                </c:pt>
                <c:pt idx="293">
                  <c:v>5.6065400000000001E-2</c:v>
                </c:pt>
                <c:pt idx="294">
                  <c:v>4.6721199999999997E-2</c:v>
                </c:pt>
                <c:pt idx="295">
                  <c:v>3.7376899999999998E-2</c:v>
                </c:pt>
                <c:pt idx="296">
                  <c:v>4.6721199999999997E-2</c:v>
                </c:pt>
                <c:pt idx="297">
                  <c:v>2.8032700000000001E-2</c:v>
                </c:pt>
                <c:pt idx="298">
                  <c:v>1.8688400000000001E-2</c:v>
                </c:pt>
                <c:pt idx="299">
                  <c:v>9.3442000000000004E-3</c:v>
                </c:pt>
                <c:pt idx="300">
                  <c:v>1.8688400000000001E-2</c:v>
                </c:pt>
                <c:pt idx="301">
                  <c:v>1.8688400000000001E-2</c:v>
                </c:pt>
                <c:pt idx="302">
                  <c:v>2.8032700000000001E-2</c:v>
                </c:pt>
                <c:pt idx="303">
                  <c:v>2.8032700000000001E-2</c:v>
                </c:pt>
                <c:pt idx="304">
                  <c:v>3.7376899999999998E-2</c:v>
                </c:pt>
                <c:pt idx="305">
                  <c:v>3.7376899999999998E-2</c:v>
                </c:pt>
                <c:pt idx="306">
                  <c:v>3.7376899999999998E-2</c:v>
                </c:pt>
                <c:pt idx="307">
                  <c:v>2.8032700000000001E-2</c:v>
                </c:pt>
                <c:pt idx="308">
                  <c:v>2.8032700000000001E-2</c:v>
                </c:pt>
                <c:pt idx="309">
                  <c:v>2.8032700000000001E-2</c:v>
                </c:pt>
                <c:pt idx="310">
                  <c:v>1.8688400000000001E-2</c:v>
                </c:pt>
                <c:pt idx="311">
                  <c:v>9.3442000000000004E-3</c:v>
                </c:pt>
                <c:pt idx="312">
                  <c:v>9.3442000000000004E-3</c:v>
                </c:pt>
                <c:pt idx="313">
                  <c:v>9.3442000000000004E-3</c:v>
                </c:pt>
                <c:pt idx="314">
                  <c:v>1.8688400000000001E-2</c:v>
                </c:pt>
                <c:pt idx="315">
                  <c:v>1.8688400000000001E-2</c:v>
                </c:pt>
                <c:pt idx="316">
                  <c:v>1.8688400000000001E-2</c:v>
                </c:pt>
                <c:pt idx="317">
                  <c:v>2.8032700000000001E-2</c:v>
                </c:pt>
                <c:pt idx="318">
                  <c:v>2.8032700000000001E-2</c:v>
                </c:pt>
                <c:pt idx="319">
                  <c:v>2.8032700000000001E-2</c:v>
                </c:pt>
                <c:pt idx="320">
                  <c:v>3.7376899999999998E-2</c:v>
                </c:pt>
                <c:pt idx="321">
                  <c:v>3.7376899999999998E-2</c:v>
                </c:pt>
                <c:pt idx="322">
                  <c:v>3.7376899999999998E-2</c:v>
                </c:pt>
                <c:pt idx="323">
                  <c:v>2.8032700000000001E-2</c:v>
                </c:pt>
                <c:pt idx="324">
                  <c:v>2.8032700000000001E-2</c:v>
                </c:pt>
                <c:pt idx="325">
                  <c:v>3.7376899999999998E-2</c:v>
                </c:pt>
                <c:pt idx="326">
                  <c:v>3.7376899999999998E-2</c:v>
                </c:pt>
                <c:pt idx="327">
                  <c:v>2.8032700000000001E-2</c:v>
                </c:pt>
                <c:pt idx="328">
                  <c:v>2.8032700000000001E-2</c:v>
                </c:pt>
                <c:pt idx="329">
                  <c:v>2.8032700000000001E-2</c:v>
                </c:pt>
                <c:pt idx="330">
                  <c:v>2.8032700000000001E-2</c:v>
                </c:pt>
                <c:pt idx="331">
                  <c:v>2.8032700000000001E-2</c:v>
                </c:pt>
                <c:pt idx="332">
                  <c:v>3.7376899999999998E-2</c:v>
                </c:pt>
                <c:pt idx="333">
                  <c:v>4.6721199999999997E-2</c:v>
                </c:pt>
                <c:pt idx="334">
                  <c:v>4.6721199999999997E-2</c:v>
                </c:pt>
                <c:pt idx="335">
                  <c:v>3.7376899999999998E-2</c:v>
                </c:pt>
                <c:pt idx="336">
                  <c:v>5.6065400000000001E-2</c:v>
                </c:pt>
                <c:pt idx="337">
                  <c:v>6.5409599999999998E-2</c:v>
                </c:pt>
                <c:pt idx="338">
                  <c:v>5.6065400000000001E-2</c:v>
                </c:pt>
                <c:pt idx="339">
                  <c:v>4.6721199999999997E-2</c:v>
                </c:pt>
                <c:pt idx="340">
                  <c:v>3.7376899999999998E-2</c:v>
                </c:pt>
                <c:pt idx="341">
                  <c:v>3.7376899999999998E-2</c:v>
                </c:pt>
                <c:pt idx="342">
                  <c:v>4.6721199999999997E-2</c:v>
                </c:pt>
                <c:pt idx="343">
                  <c:v>2.8032700000000001E-2</c:v>
                </c:pt>
                <c:pt idx="344">
                  <c:v>3.7376899999999998E-2</c:v>
                </c:pt>
                <c:pt idx="345">
                  <c:v>3.7376899999999998E-2</c:v>
                </c:pt>
                <c:pt idx="346">
                  <c:v>3.7376899999999998E-2</c:v>
                </c:pt>
                <c:pt idx="347">
                  <c:v>3.7376899999999998E-2</c:v>
                </c:pt>
                <c:pt idx="348">
                  <c:v>4.6721199999999997E-2</c:v>
                </c:pt>
                <c:pt idx="349">
                  <c:v>4.6721199999999997E-2</c:v>
                </c:pt>
                <c:pt idx="350">
                  <c:v>4.6721199999999997E-2</c:v>
                </c:pt>
                <c:pt idx="351">
                  <c:v>2.8032700000000001E-2</c:v>
                </c:pt>
                <c:pt idx="352">
                  <c:v>2.8032700000000001E-2</c:v>
                </c:pt>
                <c:pt idx="353">
                  <c:v>4.6721199999999997E-2</c:v>
                </c:pt>
                <c:pt idx="354">
                  <c:v>5.6065400000000001E-2</c:v>
                </c:pt>
                <c:pt idx="355">
                  <c:v>4.6721199999999997E-2</c:v>
                </c:pt>
                <c:pt idx="356">
                  <c:v>4.6721199999999997E-2</c:v>
                </c:pt>
                <c:pt idx="357">
                  <c:v>5.6065400000000001E-2</c:v>
                </c:pt>
                <c:pt idx="358">
                  <c:v>6.5409599999999998E-2</c:v>
                </c:pt>
                <c:pt idx="359">
                  <c:v>6.5409599999999998E-2</c:v>
                </c:pt>
                <c:pt idx="360">
                  <c:v>3.7376899999999998E-2</c:v>
                </c:pt>
                <c:pt idx="361">
                  <c:v>2.8032700000000001E-2</c:v>
                </c:pt>
                <c:pt idx="362">
                  <c:v>2.8032700000000001E-2</c:v>
                </c:pt>
                <c:pt idx="363">
                  <c:v>1.8688400000000001E-2</c:v>
                </c:pt>
                <c:pt idx="364">
                  <c:v>9.3442000000000004E-3</c:v>
                </c:pt>
                <c:pt idx="365">
                  <c:v>9.3442000000000004E-3</c:v>
                </c:pt>
                <c:pt idx="366">
                  <c:v>9.3442000000000004E-3</c:v>
                </c:pt>
                <c:pt idx="367">
                  <c:v>4.6721199999999997E-2</c:v>
                </c:pt>
                <c:pt idx="368">
                  <c:v>4.6721199999999997E-2</c:v>
                </c:pt>
                <c:pt idx="369">
                  <c:v>5.6065400000000001E-2</c:v>
                </c:pt>
                <c:pt idx="370">
                  <c:v>6.5409599999999998E-2</c:v>
                </c:pt>
                <c:pt idx="371">
                  <c:v>8.4098099999999995E-2</c:v>
                </c:pt>
                <c:pt idx="372">
                  <c:v>7.4753899999999998E-2</c:v>
                </c:pt>
                <c:pt idx="373">
                  <c:v>7.4753899999999998E-2</c:v>
                </c:pt>
                <c:pt idx="374">
                  <c:v>5.6065400000000001E-2</c:v>
                </c:pt>
                <c:pt idx="375">
                  <c:v>5.6065400000000001E-2</c:v>
                </c:pt>
                <c:pt idx="376">
                  <c:v>4.6721199999999997E-2</c:v>
                </c:pt>
                <c:pt idx="377">
                  <c:v>7.4753899999999998E-2</c:v>
                </c:pt>
                <c:pt idx="378">
                  <c:v>8.4098099999999995E-2</c:v>
                </c:pt>
                <c:pt idx="379">
                  <c:v>8.4098099999999995E-2</c:v>
                </c:pt>
                <c:pt idx="380">
                  <c:v>0.10278660000000001</c:v>
                </c:pt>
                <c:pt idx="381">
                  <c:v>9.3442399999999995E-2</c:v>
                </c:pt>
                <c:pt idx="382">
                  <c:v>9.3442399999999995E-2</c:v>
                </c:pt>
                <c:pt idx="383">
                  <c:v>0.10278660000000001</c:v>
                </c:pt>
                <c:pt idx="384">
                  <c:v>7.4753899999999998E-2</c:v>
                </c:pt>
                <c:pt idx="385">
                  <c:v>4.6721199999999997E-2</c:v>
                </c:pt>
                <c:pt idx="386">
                  <c:v>5.6065400000000001E-2</c:v>
                </c:pt>
                <c:pt idx="387">
                  <c:v>5.6065400000000001E-2</c:v>
                </c:pt>
                <c:pt idx="388">
                  <c:v>6.5409599999999998E-2</c:v>
                </c:pt>
                <c:pt idx="389">
                  <c:v>8.4098099999999995E-2</c:v>
                </c:pt>
                <c:pt idx="390">
                  <c:v>9.3442399999999995E-2</c:v>
                </c:pt>
                <c:pt idx="391">
                  <c:v>0.11213090000000001</c:v>
                </c:pt>
                <c:pt idx="392">
                  <c:v>0.1214751</c:v>
                </c:pt>
                <c:pt idx="393">
                  <c:v>0.1495078</c:v>
                </c:pt>
                <c:pt idx="394">
                  <c:v>0.1401636</c:v>
                </c:pt>
                <c:pt idx="395">
                  <c:v>0.1588521</c:v>
                </c:pt>
                <c:pt idx="396">
                  <c:v>0.1401636</c:v>
                </c:pt>
                <c:pt idx="397">
                  <c:v>0.1401636</c:v>
                </c:pt>
                <c:pt idx="398">
                  <c:v>0.1588521</c:v>
                </c:pt>
                <c:pt idx="399">
                  <c:v>0.25229449999999998</c:v>
                </c:pt>
                <c:pt idx="400">
                  <c:v>0.30836000000000002</c:v>
                </c:pt>
                <c:pt idx="401">
                  <c:v>0.33639269999999999</c:v>
                </c:pt>
                <c:pt idx="402">
                  <c:v>0.31770419999999999</c:v>
                </c:pt>
                <c:pt idx="403">
                  <c:v>0.32704840000000002</c:v>
                </c:pt>
                <c:pt idx="404">
                  <c:v>0.32704840000000002</c:v>
                </c:pt>
                <c:pt idx="405">
                  <c:v>0.37376969999999998</c:v>
                </c:pt>
                <c:pt idx="406">
                  <c:v>0.28967150000000003</c:v>
                </c:pt>
                <c:pt idx="407">
                  <c:v>0.25229449999999998</c:v>
                </c:pt>
                <c:pt idx="408">
                  <c:v>0.2803272</c:v>
                </c:pt>
                <c:pt idx="409">
                  <c:v>0.2990157</c:v>
                </c:pt>
                <c:pt idx="410">
                  <c:v>0.30836000000000002</c:v>
                </c:pt>
                <c:pt idx="411">
                  <c:v>0.32704840000000002</c:v>
                </c:pt>
                <c:pt idx="412">
                  <c:v>0.2990157</c:v>
                </c:pt>
                <c:pt idx="413">
                  <c:v>0.30836000000000002</c:v>
                </c:pt>
                <c:pt idx="414">
                  <c:v>0.31770419999999999</c:v>
                </c:pt>
                <c:pt idx="415">
                  <c:v>0.2803272</c:v>
                </c:pt>
                <c:pt idx="416">
                  <c:v>0.30836000000000002</c:v>
                </c:pt>
                <c:pt idx="417">
                  <c:v>0.33639269999999999</c:v>
                </c:pt>
                <c:pt idx="418">
                  <c:v>0.39245809999999998</c:v>
                </c:pt>
                <c:pt idx="419">
                  <c:v>0.53262180000000003</c:v>
                </c:pt>
                <c:pt idx="420">
                  <c:v>0.55131030000000003</c:v>
                </c:pt>
                <c:pt idx="421">
                  <c:v>0.56999869999999997</c:v>
                </c:pt>
                <c:pt idx="422">
                  <c:v>0.63540839999999998</c:v>
                </c:pt>
                <c:pt idx="423">
                  <c:v>0.65409689999999998</c:v>
                </c:pt>
                <c:pt idx="424">
                  <c:v>0.66344119999999995</c:v>
                </c:pt>
                <c:pt idx="425">
                  <c:v>0.63540839999999998</c:v>
                </c:pt>
                <c:pt idx="426">
                  <c:v>0.67278539999999998</c:v>
                </c:pt>
                <c:pt idx="427">
                  <c:v>0.83163750000000003</c:v>
                </c:pt>
                <c:pt idx="428">
                  <c:v>0.89704720000000004</c:v>
                </c:pt>
                <c:pt idx="429">
                  <c:v>0.92508000000000001</c:v>
                </c:pt>
                <c:pt idx="430">
                  <c:v>1.0465551</c:v>
                </c:pt>
                <c:pt idx="431">
                  <c:v>1.1680303000000001</c:v>
                </c:pt>
                <c:pt idx="432">
                  <c:v>1.2614726999999999</c:v>
                </c:pt>
                <c:pt idx="433">
                  <c:v>1.2895053999999999</c:v>
                </c:pt>
                <c:pt idx="434">
                  <c:v>1.3175380999999999</c:v>
                </c:pt>
                <c:pt idx="435">
                  <c:v>1.4296690999999999</c:v>
                </c:pt>
                <c:pt idx="436">
                  <c:v>1.5231115</c:v>
                </c:pt>
                <c:pt idx="437">
                  <c:v>1.4857345</c:v>
                </c:pt>
                <c:pt idx="438">
                  <c:v>1.4670460000000001</c:v>
                </c:pt>
                <c:pt idx="439">
                  <c:v>1.4857345</c:v>
                </c:pt>
                <c:pt idx="440">
                  <c:v>1.5137672</c:v>
                </c:pt>
                <c:pt idx="441">
                  <c:v>1.4950787999999999</c:v>
                </c:pt>
                <c:pt idx="442">
                  <c:v>1.4296690999999999</c:v>
                </c:pt>
                <c:pt idx="443">
                  <c:v>1.5511442</c:v>
                </c:pt>
                <c:pt idx="444">
                  <c:v>1.6632750999999999</c:v>
                </c:pt>
                <c:pt idx="445">
                  <c:v>1.6913079</c:v>
                </c:pt>
                <c:pt idx="446">
                  <c:v>1.8034387999999999</c:v>
                </c:pt>
                <c:pt idx="447">
                  <c:v>1.8875369</c:v>
                </c:pt>
                <c:pt idx="448">
                  <c:v>2.1117987999999999</c:v>
                </c:pt>
                <c:pt idx="449">
                  <c:v>2.0837659999999998</c:v>
                </c:pt>
                <c:pt idx="450">
                  <c:v>2.1678641999999999</c:v>
                </c:pt>
                <c:pt idx="451">
                  <c:v>2.1865527</c:v>
                </c:pt>
                <c:pt idx="452">
                  <c:v>2.2426181999999999</c:v>
                </c:pt>
                <c:pt idx="453">
                  <c:v>2.1491756999999998</c:v>
                </c:pt>
                <c:pt idx="454">
                  <c:v>2.0931103000000002</c:v>
                </c:pt>
                <c:pt idx="455">
                  <c:v>1.8781927</c:v>
                </c:pt>
                <c:pt idx="456">
                  <c:v>2.0277006000000002</c:v>
                </c:pt>
                <c:pt idx="457">
                  <c:v>1.85016</c:v>
                </c:pt>
                <c:pt idx="458">
                  <c:v>1.7099963</c:v>
                </c:pt>
                <c:pt idx="459">
                  <c:v>1.6539309</c:v>
                </c:pt>
                <c:pt idx="460">
                  <c:v>1.6072097000000001</c:v>
                </c:pt>
                <c:pt idx="461">
                  <c:v>1.6632750999999999</c:v>
                </c:pt>
                <c:pt idx="462">
                  <c:v>1.6539309</c:v>
                </c:pt>
                <c:pt idx="463">
                  <c:v>1.4763903</c:v>
                </c:pt>
                <c:pt idx="464">
                  <c:v>1.4296690999999999</c:v>
                </c:pt>
                <c:pt idx="465">
                  <c:v>1.4577017999999999</c:v>
                </c:pt>
                <c:pt idx="466">
                  <c:v>1.4016363000000001</c:v>
                </c:pt>
                <c:pt idx="467">
                  <c:v>1.4016363000000001</c:v>
                </c:pt>
                <c:pt idx="468">
                  <c:v>1.2427842</c:v>
                </c:pt>
                <c:pt idx="469">
                  <c:v>1.2801612</c:v>
                </c:pt>
                <c:pt idx="470">
                  <c:v>1.3642593999999999</c:v>
                </c:pt>
                <c:pt idx="471">
                  <c:v>1.3455709</c:v>
                </c:pt>
                <c:pt idx="472">
                  <c:v>1.2895053999999999</c:v>
                </c:pt>
                <c:pt idx="473">
                  <c:v>1.2147515</c:v>
                </c:pt>
                <c:pt idx="474">
                  <c:v>1.1680303000000001</c:v>
                </c:pt>
                <c:pt idx="475">
                  <c:v>1.2147515</c:v>
                </c:pt>
                <c:pt idx="476">
                  <c:v>1.1680303000000001</c:v>
                </c:pt>
                <c:pt idx="477">
                  <c:v>1.0652436000000001</c:v>
                </c:pt>
                <c:pt idx="478">
                  <c:v>1.0652436000000001</c:v>
                </c:pt>
                <c:pt idx="479">
                  <c:v>1.0278666000000001</c:v>
                </c:pt>
                <c:pt idx="480">
                  <c:v>1.0745878</c:v>
                </c:pt>
                <c:pt idx="481">
                  <c:v>1.0745878</c:v>
                </c:pt>
                <c:pt idx="482">
                  <c:v>1.0278666000000001</c:v>
                </c:pt>
                <c:pt idx="483">
                  <c:v>1.0932763000000001</c:v>
                </c:pt>
                <c:pt idx="484">
                  <c:v>1.1399975</c:v>
                </c:pt>
                <c:pt idx="485">
                  <c:v>1.0839321</c:v>
                </c:pt>
                <c:pt idx="486">
                  <c:v>1.1119648</c:v>
                </c:pt>
                <c:pt idx="487">
                  <c:v>1.1399975</c:v>
                </c:pt>
                <c:pt idx="488">
                  <c:v>1.1399975</c:v>
                </c:pt>
                <c:pt idx="489">
                  <c:v>1.0372109</c:v>
                </c:pt>
                <c:pt idx="490">
                  <c:v>0.87835870000000005</c:v>
                </c:pt>
                <c:pt idx="491">
                  <c:v>0.78491630000000001</c:v>
                </c:pt>
                <c:pt idx="492">
                  <c:v>0.72885089999999997</c:v>
                </c:pt>
                <c:pt idx="493">
                  <c:v>0.72885089999999997</c:v>
                </c:pt>
                <c:pt idx="494">
                  <c:v>0.68212969999999995</c:v>
                </c:pt>
                <c:pt idx="495">
                  <c:v>0.66344119999999995</c:v>
                </c:pt>
                <c:pt idx="496">
                  <c:v>0.65409689999999998</c:v>
                </c:pt>
                <c:pt idx="497">
                  <c:v>0.65409689999999998</c:v>
                </c:pt>
                <c:pt idx="498">
                  <c:v>0.66344119999999995</c:v>
                </c:pt>
                <c:pt idx="499">
                  <c:v>0.64475269999999996</c:v>
                </c:pt>
                <c:pt idx="500">
                  <c:v>0.64475269999999996</c:v>
                </c:pt>
                <c:pt idx="501">
                  <c:v>0.57934300000000005</c:v>
                </c:pt>
                <c:pt idx="502">
                  <c:v>0.53262180000000003</c:v>
                </c:pt>
                <c:pt idx="503">
                  <c:v>0.56065449999999994</c:v>
                </c:pt>
                <c:pt idx="504">
                  <c:v>0.50458899999999995</c:v>
                </c:pt>
                <c:pt idx="505">
                  <c:v>0.52327749999999995</c:v>
                </c:pt>
                <c:pt idx="506">
                  <c:v>0.56999869999999997</c:v>
                </c:pt>
                <c:pt idx="507">
                  <c:v>0.56999869999999997</c:v>
                </c:pt>
                <c:pt idx="508">
                  <c:v>0.66344119999999995</c:v>
                </c:pt>
                <c:pt idx="509">
                  <c:v>0.73819509999999999</c:v>
                </c:pt>
                <c:pt idx="510">
                  <c:v>0.78491630000000001</c:v>
                </c:pt>
                <c:pt idx="511">
                  <c:v>0.8409818</c:v>
                </c:pt>
                <c:pt idx="512">
                  <c:v>0.88770300000000002</c:v>
                </c:pt>
                <c:pt idx="513">
                  <c:v>0.94376839999999995</c:v>
                </c:pt>
                <c:pt idx="514">
                  <c:v>1.0278666000000001</c:v>
                </c:pt>
                <c:pt idx="515">
                  <c:v>1.0558993999999999</c:v>
                </c:pt>
                <c:pt idx="516">
                  <c:v>1.0932763000000001</c:v>
                </c:pt>
                <c:pt idx="517">
                  <c:v>1.1586860000000001</c:v>
                </c:pt>
                <c:pt idx="518">
                  <c:v>1.2708169</c:v>
                </c:pt>
                <c:pt idx="519">
                  <c:v>1.3549150999999999</c:v>
                </c:pt>
                <c:pt idx="520">
                  <c:v>1.4109806</c:v>
                </c:pt>
                <c:pt idx="521">
                  <c:v>1.3362266</c:v>
                </c:pt>
                <c:pt idx="522">
                  <c:v>1.4203247999999999</c:v>
                </c:pt>
                <c:pt idx="523">
                  <c:v>1.3922920999999999</c:v>
                </c:pt>
                <c:pt idx="524">
                  <c:v>1.3736036</c:v>
                </c:pt>
                <c:pt idx="525">
                  <c:v>1.2334400000000001</c:v>
                </c:pt>
                <c:pt idx="526">
                  <c:v>1.3081939</c:v>
                </c:pt>
                <c:pt idx="527">
                  <c:v>1.3268823999999999</c:v>
                </c:pt>
                <c:pt idx="528">
                  <c:v>1.4296690999999999</c:v>
                </c:pt>
                <c:pt idx="529">
                  <c:v>1.3081939</c:v>
                </c:pt>
                <c:pt idx="530">
                  <c:v>1.3081939</c:v>
                </c:pt>
                <c:pt idx="531">
                  <c:v>1.3081939</c:v>
                </c:pt>
                <c:pt idx="532">
                  <c:v>1.3829477999999999</c:v>
                </c:pt>
                <c:pt idx="533">
                  <c:v>1.3642593999999999</c:v>
                </c:pt>
                <c:pt idx="534">
                  <c:v>1.3268823999999999</c:v>
                </c:pt>
                <c:pt idx="535">
                  <c:v>1.2521285</c:v>
                </c:pt>
                <c:pt idx="536">
                  <c:v>1.2988497000000001</c:v>
                </c:pt>
                <c:pt idx="537">
                  <c:v>1.3268823999999999</c:v>
                </c:pt>
                <c:pt idx="538">
                  <c:v>1.3081939</c:v>
                </c:pt>
                <c:pt idx="539">
                  <c:v>1.4109806</c:v>
                </c:pt>
                <c:pt idx="540">
                  <c:v>1.2801612</c:v>
                </c:pt>
                <c:pt idx="541">
                  <c:v>1.3175380999999999</c:v>
                </c:pt>
                <c:pt idx="542">
                  <c:v>1.2895053999999999</c:v>
                </c:pt>
                <c:pt idx="543">
                  <c:v>1.2427842</c:v>
                </c:pt>
                <c:pt idx="544">
                  <c:v>1.1960630000000001</c:v>
                </c:pt>
                <c:pt idx="545">
                  <c:v>1.1493418</c:v>
                </c:pt>
                <c:pt idx="546">
                  <c:v>1.0558993999999999</c:v>
                </c:pt>
                <c:pt idx="547">
                  <c:v>0.95311270000000003</c:v>
                </c:pt>
                <c:pt idx="548">
                  <c:v>0.8409818</c:v>
                </c:pt>
                <c:pt idx="549">
                  <c:v>0.79426059999999998</c:v>
                </c:pt>
                <c:pt idx="550">
                  <c:v>0.77557209999999999</c:v>
                </c:pt>
                <c:pt idx="551">
                  <c:v>0.75688359999999999</c:v>
                </c:pt>
                <c:pt idx="552">
                  <c:v>0.75688359999999999</c:v>
                </c:pt>
                <c:pt idx="553">
                  <c:v>0.7008181</c:v>
                </c:pt>
                <c:pt idx="554">
                  <c:v>0.76622780000000001</c:v>
                </c:pt>
                <c:pt idx="555">
                  <c:v>0.77557209999999999</c:v>
                </c:pt>
                <c:pt idx="556">
                  <c:v>0.75688359999999999</c:v>
                </c:pt>
                <c:pt idx="557">
                  <c:v>0.77557209999999999</c:v>
                </c:pt>
                <c:pt idx="558">
                  <c:v>0.83163750000000003</c:v>
                </c:pt>
                <c:pt idx="559">
                  <c:v>0.78491630000000001</c:v>
                </c:pt>
                <c:pt idx="560">
                  <c:v>0.83163750000000003</c:v>
                </c:pt>
                <c:pt idx="561">
                  <c:v>0.81294909999999998</c:v>
                </c:pt>
                <c:pt idx="562">
                  <c:v>0.8596703</c:v>
                </c:pt>
                <c:pt idx="563">
                  <c:v>0.89704720000000004</c:v>
                </c:pt>
                <c:pt idx="564">
                  <c:v>0.8596703</c:v>
                </c:pt>
                <c:pt idx="565">
                  <c:v>0.8222933</c:v>
                </c:pt>
                <c:pt idx="566">
                  <c:v>0.87835870000000005</c:v>
                </c:pt>
                <c:pt idx="567">
                  <c:v>0.8596703</c:v>
                </c:pt>
                <c:pt idx="568">
                  <c:v>0.85032600000000003</c:v>
                </c:pt>
                <c:pt idx="569">
                  <c:v>0.8222933</c:v>
                </c:pt>
                <c:pt idx="570">
                  <c:v>0.89704720000000004</c:v>
                </c:pt>
                <c:pt idx="571">
                  <c:v>0.88770300000000002</c:v>
                </c:pt>
                <c:pt idx="572">
                  <c:v>0.86901450000000002</c:v>
                </c:pt>
                <c:pt idx="573">
                  <c:v>0.8409818</c:v>
                </c:pt>
                <c:pt idx="574">
                  <c:v>0.85032600000000003</c:v>
                </c:pt>
                <c:pt idx="575">
                  <c:v>0.85032600000000003</c:v>
                </c:pt>
                <c:pt idx="576">
                  <c:v>0.78491630000000001</c:v>
                </c:pt>
                <c:pt idx="577">
                  <c:v>0.69147389999999997</c:v>
                </c:pt>
                <c:pt idx="578">
                  <c:v>0.67278539999999998</c:v>
                </c:pt>
                <c:pt idx="579">
                  <c:v>0.67278539999999998</c:v>
                </c:pt>
                <c:pt idx="580">
                  <c:v>0.67278539999999998</c:v>
                </c:pt>
                <c:pt idx="581">
                  <c:v>0.59803150000000005</c:v>
                </c:pt>
                <c:pt idx="582">
                  <c:v>0.58868719999999997</c:v>
                </c:pt>
                <c:pt idx="583">
                  <c:v>0.64475269999999996</c:v>
                </c:pt>
                <c:pt idx="584">
                  <c:v>0.60737569999999996</c:v>
                </c:pt>
                <c:pt idx="585">
                  <c:v>0.63540839999999998</c:v>
                </c:pt>
                <c:pt idx="586">
                  <c:v>0.57934300000000005</c:v>
                </c:pt>
                <c:pt idx="587">
                  <c:v>0.53262180000000003</c:v>
                </c:pt>
                <c:pt idx="588">
                  <c:v>0.5232774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91</c:f>
              <c:numCache>
                <c:formatCode>m/d/yyyy</c:formatCode>
                <c:ptCount val="59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  <c:pt idx="585">
                  <c:v>44660</c:v>
                </c:pt>
                <c:pt idx="586">
                  <c:v>44661</c:v>
                </c:pt>
                <c:pt idx="587">
                  <c:v>44662</c:v>
                </c:pt>
                <c:pt idx="588">
                  <c:v>44663</c:v>
                </c:pt>
                <c:pt idx="589">
                  <c:v>44664</c:v>
                </c:pt>
              </c:numCache>
            </c:numRef>
          </c:cat>
          <c:val>
            <c:numRef>
              <c:f>Sheet1!$B$2:$B$591</c:f>
              <c:numCache>
                <c:formatCode>0.0%</c:formatCode>
                <c:ptCount val="590"/>
                <c:pt idx="0">
                  <c:v>7.000032</c:v>
                </c:pt>
                <c:pt idx="1">
                  <c:v>8.0000319999999991</c:v>
                </c:pt>
                <c:pt idx="2">
                  <c:v>10.000042000000001</c:v>
                </c:pt>
                <c:pt idx="3">
                  <c:v>3.6666669999999999</c:v>
                </c:pt>
                <c:pt idx="4">
                  <c:v>4.0000030000000004</c:v>
                </c:pt>
                <c:pt idx="5">
                  <c:v>4.666671</c:v>
                </c:pt>
                <c:pt idx="6">
                  <c:v>1.25</c:v>
                </c:pt>
                <c:pt idx="7">
                  <c:v>0.55555500000000002</c:v>
                </c:pt>
                <c:pt idx="8">
                  <c:v>0.36363600000000001</c:v>
                </c:pt>
                <c:pt idx="9">
                  <c:v>0.28571400000000002</c:v>
                </c:pt>
                <c:pt idx="10">
                  <c:v>0.26666600000000001</c:v>
                </c:pt>
                <c:pt idx="11">
                  <c:v>0</c:v>
                </c:pt>
                <c:pt idx="12">
                  <c:v>0</c:v>
                </c:pt>
                <c:pt idx="13">
                  <c:v>0.214286</c:v>
                </c:pt>
                <c:pt idx="14">
                  <c:v>0.8</c:v>
                </c:pt>
                <c:pt idx="15">
                  <c:v>0.44444400000000001</c:v>
                </c:pt>
                <c:pt idx="16">
                  <c:v>0.52631499999999998</c:v>
                </c:pt>
                <c:pt idx="17">
                  <c:v>0.70588200000000001</c:v>
                </c:pt>
                <c:pt idx="18">
                  <c:v>0.72222200000000003</c:v>
                </c:pt>
                <c:pt idx="19">
                  <c:v>1.1764699999999999</c:v>
                </c:pt>
                <c:pt idx="20">
                  <c:v>0.59259200000000001</c:v>
                </c:pt>
                <c:pt idx="21">
                  <c:v>0.53846099999999997</c:v>
                </c:pt>
                <c:pt idx="22">
                  <c:v>0.72413799999999995</c:v>
                </c:pt>
                <c:pt idx="23">
                  <c:v>0.96551699999999996</c:v>
                </c:pt>
                <c:pt idx="24">
                  <c:v>1</c:v>
                </c:pt>
                <c:pt idx="25">
                  <c:v>0.72972999999999999</c:v>
                </c:pt>
                <c:pt idx="26">
                  <c:v>0.44185999999999998</c:v>
                </c:pt>
                <c:pt idx="27">
                  <c:v>0.62499899999999997</c:v>
                </c:pt>
                <c:pt idx="28">
                  <c:v>0.38</c:v>
                </c:pt>
                <c:pt idx="29">
                  <c:v>0.19298199999999999</c:v>
                </c:pt>
                <c:pt idx="30">
                  <c:v>6.4516000000000004E-2</c:v>
                </c:pt>
                <c:pt idx="31">
                  <c:v>0.171874</c:v>
                </c:pt>
                <c:pt idx="32">
                  <c:v>0.27419300000000002</c:v>
                </c:pt>
                <c:pt idx="33">
                  <c:v>0.26153799999999999</c:v>
                </c:pt>
                <c:pt idx="34">
                  <c:v>0.56521699999999997</c:v>
                </c:pt>
                <c:pt idx="35">
                  <c:v>0.75</c:v>
                </c:pt>
                <c:pt idx="36">
                  <c:v>1.060605</c:v>
                </c:pt>
                <c:pt idx="37">
                  <c:v>0.93333299999999997</c:v>
                </c:pt>
                <c:pt idx="38">
                  <c:v>1.0253159999999999</c:v>
                </c:pt>
                <c:pt idx="39">
                  <c:v>1.097561</c:v>
                </c:pt>
                <c:pt idx="40">
                  <c:v>0.68518500000000004</c:v>
                </c:pt>
                <c:pt idx="41">
                  <c:v>0.45378099999999999</c:v>
                </c:pt>
                <c:pt idx="42">
                  <c:v>0.29411700000000002</c:v>
                </c:pt>
                <c:pt idx="43">
                  <c:v>0.24137900000000001</c:v>
                </c:pt>
                <c:pt idx="44">
                  <c:v>0.18124899999999999</c:v>
                </c:pt>
                <c:pt idx="45">
                  <c:v>0.16278999999999999</c:v>
                </c:pt>
                <c:pt idx="46">
                  <c:v>6.0439E-2</c:v>
                </c:pt>
                <c:pt idx="47">
                  <c:v>0.190751</c:v>
                </c:pt>
                <c:pt idx="48">
                  <c:v>0.30113600000000001</c:v>
                </c:pt>
                <c:pt idx="49">
                  <c:v>0.32777699999999999</c:v>
                </c:pt>
                <c:pt idx="50">
                  <c:v>0.35449700000000001</c:v>
                </c:pt>
                <c:pt idx="51">
                  <c:v>0.36499900000000002</c:v>
                </c:pt>
                <c:pt idx="52">
                  <c:v>0.38860099999999997</c:v>
                </c:pt>
                <c:pt idx="53">
                  <c:v>0.441747</c:v>
                </c:pt>
                <c:pt idx="54">
                  <c:v>0.340611</c:v>
                </c:pt>
                <c:pt idx="55">
                  <c:v>0.36401600000000001</c:v>
                </c:pt>
                <c:pt idx="56">
                  <c:v>0.38281199999999999</c:v>
                </c:pt>
                <c:pt idx="57">
                  <c:v>0.249084</c:v>
                </c:pt>
                <c:pt idx="58">
                  <c:v>0.30597000000000002</c:v>
                </c:pt>
                <c:pt idx="59">
                  <c:v>0.212121</c:v>
                </c:pt>
                <c:pt idx="60">
                  <c:v>0.17263800000000001</c:v>
                </c:pt>
                <c:pt idx="61">
                  <c:v>6.7484000000000002E-2</c:v>
                </c:pt>
                <c:pt idx="62">
                  <c:v>0</c:v>
                </c:pt>
                <c:pt idx="63">
                  <c:v>-1.7595E-2</c:v>
                </c:pt>
                <c:pt idx="64">
                  <c:v>-5.1428000000000001E-2</c:v>
                </c:pt>
                <c:pt idx="65">
                  <c:v>-8.6110999999999993E-2</c:v>
                </c:pt>
                <c:pt idx="66">
                  <c:v>-7.7776999999999999E-2</c:v>
                </c:pt>
                <c:pt idx="67">
                  <c:v>-7.4712000000000001E-2</c:v>
                </c:pt>
                <c:pt idx="68">
                  <c:v>-0.118644</c:v>
                </c:pt>
                <c:pt idx="69">
                  <c:v>-0.182089</c:v>
                </c:pt>
                <c:pt idx="70">
                  <c:v>-0.18072199999999999</c:v>
                </c:pt>
                <c:pt idx="71">
                  <c:v>-0.16109399999999999</c:v>
                </c:pt>
                <c:pt idx="72">
                  <c:v>-0.24698700000000001</c:v>
                </c:pt>
                <c:pt idx="73">
                  <c:v>-0.30434699999999998</c:v>
                </c:pt>
                <c:pt idx="74">
                  <c:v>-0.31089699999999998</c:v>
                </c:pt>
                <c:pt idx="75">
                  <c:v>-0.24087500000000001</c:v>
                </c:pt>
                <c:pt idx="76">
                  <c:v>-0.23161699999999999</c:v>
                </c:pt>
                <c:pt idx="77">
                  <c:v>-0.33695599999999998</c:v>
                </c:pt>
                <c:pt idx="78">
                  <c:v>-0.31199900000000003</c:v>
                </c:pt>
                <c:pt idx="79">
                  <c:v>-0.21875</c:v>
                </c:pt>
                <c:pt idx="80">
                  <c:v>-0.227906</c:v>
                </c:pt>
                <c:pt idx="81">
                  <c:v>-0.19230700000000001</c:v>
                </c:pt>
                <c:pt idx="82">
                  <c:v>-0.19617200000000001</c:v>
                </c:pt>
                <c:pt idx="83">
                  <c:v>-0.18579200000000001</c:v>
                </c:pt>
                <c:pt idx="84">
                  <c:v>-0.10465099999999999</c:v>
                </c:pt>
                <c:pt idx="85">
                  <c:v>-0.12571399999999999</c:v>
                </c:pt>
                <c:pt idx="86">
                  <c:v>-0.14457800000000001</c:v>
                </c:pt>
                <c:pt idx="87">
                  <c:v>-0.136904</c:v>
                </c:pt>
                <c:pt idx="88">
                  <c:v>-0.22023799999999999</c:v>
                </c:pt>
                <c:pt idx="89">
                  <c:v>-0.14093900000000001</c:v>
                </c:pt>
                <c:pt idx="90">
                  <c:v>-0.14285700000000001</c:v>
                </c:pt>
                <c:pt idx="91">
                  <c:v>-0.169934</c:v>
                </c:pt>
                <c:pt idx="92">
                  <c:v>-0.12676000000000001</c:v>
                </c:pt>
                <c:pt idx="93">
                  <c:v>-8.9654999999999999E-2</c:v>
                </c:pt>
                <c:pt idx="94">
                  <c:v>3.0533999999999999E-2</c:v>
                </c:pt>
                <c:pt idx="95">
                  <c:v>7.0311999999999999E-2</c:v>
                </c:pt>
                <c:pt idx="96">
                  <c:v>6.8181000000000005E-2</c:v>
                </c:pt>
                <c:pt idx="97">
                  <c:v>0.110236</c:v>
                </c:pt>
                <c:pt idx="98">
                  <c:v>0.209677</c:v>
                </c:pt>
                <c:pt idx="99">
                  <c:v>0.10606</c:v>
                </c:pt>
                <c:pt idx="100">
                  <c:v>6.6666000000000003E-2</c:v>
                </c:pt>
                <c:pt idx="101">
                  <c:v>-2.1897E-2</c:v>
                </c:pt>
                <c:pt idx="102">
                  <c:v>-2.1276E-2</c:v>
                </c:pt>
                <c:pt idx="103">
                  <c:v>-7.0920000000000002E-3</c:v>
                </c:pt>
                <c:pt idx="104">
                  <c:v>6.6660000000000001E-3</c:v>
                </c:pt>
                <c:pt idx="105">
                  <c:v>6.8490000000000001E-3</c:v>
                </c:pt>
                <c:pt idx="106">
                  <c:v>6.9439999999999997E-3</c:v>
                </c:pt>
                <c:pt idx="107">
                  <c:v>6.7164000000000001E-2</c:v>
                </c:pt>
                <c:pt idx="108">
                  <c:v>8.6956000000000006E-2</c:v>
                </c:pt>
                <c:pt idx="109">
                  <c:v>4.2856999999999999E-2</c:v>
                </c:pt>
                <c:pt idx="110">
                  <c:v>-1.9866999999999999E-2</c:v>
                </c:pt>
                <c:pt idx="111">
                  <c:v>-5.4420999999999997E-2</c:v>
                </c:pt>
                <c:pt idx="112">
                  <c:v>-4.8274999999999998E-2</c:v>
                </c:pt>
                <c:pt idx="113">
                  <c:v>0.111888</c:v>
                </c:pt>
                <c:pt idx="114">
                  <c:v>6.6660000000000001E-3</c:v>
                </c:pt>
                <c:pt idx="115">
                  <c:v>5.4794000000000002E-2</c:v>
                </c:pt>
                <c:pt idx="116">
                  <c:v>8.1081E-2</c:v>
                </c:pt>
                <c:pt idx="117">
                  <c:v>0.258992</c:v>
                </c:pt>
                <c:pt idx="118">
                  <c:v>0.47101399999999999</c:v>
                </c:pt>
                <c:pt idx="119">
                  <c:v>0.45283000000000001</c:v>
                </c:pt>
                <c:pt idx="120">
                  <c:v>0.54966800000000005</c:v>
                </c:pt>
                <c:pt idx="121">
                  <c:v>0.62337600000000004</c:v>
                </c:pt>
                <c:pt idx="122">
                  <c:v>0.53749899999999995</c:v>
                </c:pt>
                <c:pt idx="123">
                  <c:v>0.445714</c:v>
                </c:pt>
                <c:pt idx="124">
                  <c:v>0.23152700000000001</c:v>
                </c:pt>
                <c:pt idx="125">
                  <c:v>2.1645000000000001E-2</c:v>
                </c:pt>
                <c:pt idx="126">
                  <c:v>1.7094000000000002E-2</c:v>
                </c:pt>
                <c:pt idx="127">
                  <c:v>-4.7999E-2</c:v>
                </c:pt>
                <c:pt idx="128">
                  <c:v>-4.0649999999999999E-2</c:v>
                </c:pt>
                <c:pt idx="129">
                  <c:v>0</c:v>
                </c:pt>
                <c:pt idx="130">
                  <c:v>3.9999E-2</c:v>
                </c:pt>
                <c:pt idx="131">
                  <c:v>6.7795999999999995E-2</c:v>
                </c:pt>
                <c:pt idx="132">
                  <c:v>2.521E-2</c:v>
                </c:pt>
                <c:pt idx="133">
                  <c:v>-7.1428000000000005E-2</c:v>
                </c:pt>
                <c:pt idx="134">
                  <c:v>-0.10169400000000001</c:v>
                </c:pt>
                <c:pt idx="135">
                  <c:v>-0.12648200000000001</c:v>
                </c:pt>
                <c:pt idx="136">
                  <c:v>-0.18076900000000001</c:v>
                </c:pt>
                <c:pt idx="137">
                  <c:v>-0.234126</c:v>
                </c:pt>
                <c:pt idx="138">
                  <c:v>-0.24180299999999999</c:v>
                </c:pt>
                <c:pt idx="139">
                  <c:v>-0.14479600000000001</c:v>
                </c:pt>
                <c:pt idx="140">
                  <c:v>-9.4339000000000006E-2</c:v>
                </c:pt>
                <c:pt idx="141">
                  <c:v>-0.13574600000000001</c:v>
                </c:pt>
                <c:pt idx="142">
                  <c:v>-0.21596199999999999</c:v>
                </c:pt>
                <c:pt idx="143">
                  <c:v>-0.14507700000000001</c:v>
                </c:pt>
                <c:pt idx="144">
                  <c:v>-6.4864000000000005E-2</c:v>
                </c:pt>
                <c:pt idx="145">
                  <c:v>-8.9946999999999999E-2</c:v>
                </c:pt>
                <c:pt idx="146">
                  <c:v>-9.8958000000000004E-2</c:v>
                </c:pt>
                <c:pt idx="147">
                  <c:v>-8.9005000000000001E-2</c:v>
                </c:pt>
                <c:pt idx="148">
                  <c:v>-4.1916000000000002E-2</c:v>
                </c:pt>
                <c:pt idx="149">
                  <c:v>0</c:v>
                </c:pt>
                <c:pt idx="150">
                  <c:v>-1.7340999999999999E-2</c:v>
                </c:pt>
                <c:pt idx="151">
                  <c:v>-5.8129999999999996E-3</c:v>
                </c:pt>
                <c:pt idx="152">
                  <c:v>5.7800000000000004E-3</c:v>
                </c:pt>
                <c:pt idx="153">
                  <c:v>2.2988000000000001E-2</c:v>
                </c:pt>
                <c:pt idx="154">
                  <c:v>4.3749999999999997E-2</c:v>
                </c:pt>
                <c:pt idx="155">
                  <c:v>5.4545000000000003E-2</c:v>
                </c:pt>
                <c:pt idx="156">
                  <c:v>0.111764</c:v>
                </c:pt>
                <c:pt idx="157">
                  <c:v>0.11695899999999999</c:v>
                </c:pt>
                <c:pt idx="158">
                  <c:v>9.7700999999999996E-2</c:v>
                </c:pt>
                <c:pt idx="159">
                  <c:v>4.4942999999999997E-2</c:v>
                </c:pt>
                <c:pt idx="160">
                  <c:v>4.7904000000000002E-2</c:v>
                </c:pt>
                <c:pt idx="161">
                  <c:v>0.114942</c:v>
                </c:pt>
                <c:pt idx="162">
                  <c:v>6.8782999999999997E-2</c:v>
                </c:pt>
                <c:pt idx="163">
                  <c:v>5.2350000000000001E-3</c:v>
                </c:pt>
                <c:pt idx="164">
                  <c:v>-4.7120000000000002E-2</c:v>
                </c:pt>
                <c:pt idx="165">
                  <c:v>-9.6773999999999999E-2</c:v>
                </c:pt>
                <c:pt idx="166">
                  <c:v>2.8570999999999999E-2</c:v>
                </c:pt>
                <c:pt idx="167">
                  <c:v>-7.2164000000000006E-2</c:v>
                </c:pt>
                <c:pt idx="168">
                  <c:v>-9.4059000000000004E-2</c:v>
                </c:pt>
                <c:pt idx="169">
                  <c:v>-5.208E-3</c:v>
                </c:pt>
                <c:pt idx="170">
                  <c:v>9.8901000000000003E-2</c:v>
                </c:pt>
                <c:pt idx="171">
                  <c:v>0.17261899999999999</c:v>
                </c:pt>
                <c:pt idx="172">
                  <c:v>0.23888799999999999</c:v>
                </c:pt>
                <c:pt idx="173">
                  <c:v>0.27222200000000002</c:v>
                </c:pt>
                <c:pt idx="174">
                  <c:v>0.31693900000000003</c:v>
                </c:pt>
                <c:pt idx="175">
                  <c:v>0.22513</c:v>
                </c:pt>
                <c:pt idx="176">
                  <c:v>0.159999</c:v>
                </c:pt>
                <c:pt idx="177">
                  <c:v>0.213197</c:v>
                </c:pt>
                <c:pt idx="178">
                  <c:v>0.112107</c:v>
                </c:pt>
                <c:pt idx="179">
                  <c:v>3.0567E-2</c:v>
                </c:pt>
                <c:pt idx="180">
                  <c:v>-8.2979999999999998E-3</c:v>
                </c:pt>
                <c:pt idx="181">
                  <c:v>2.1367000000000001E-2</c:v>
                </c:pt>
                <c:pt idx="182">
                  <c:v>5.1723999999999999E-2</c:v>
                </c:pt>
                <c:pt idx="183">
                  <c:v>8.3680000000000004E-3</c:v>
                </c:pt>
                <c:pt idx="184">
                  <c:v>-6.0483000000000002E-2</c:v>
                </c:pt>
                <c:pt idx="185">
                  <c:v>3.8135000000000002E-2</c:v>
                </c:pt>
                <c:pt idx="186">
                  <c:v>5.4392999999999997E-2</c:v>
                </c:pt>
                <c:pt idx="187">
                  <c:v>-1.6736000000000001E-2</c:v>
                </c:pt>
                <c:pt idx="188">
                  <c:v>2.4590000000000001E-2</c:v>
                </c:pt>
                <c:pt idx="189">
                  <c:v>-8.2979999999999998E-3</c:v>
                </c:pt>
                <c:pt idx="190">
                  <c:v>1.7167000000000002E-2</c:v>
                </c:pt>
                <c:pt idx="191">
                  <c:v>1.6326E-2</c:v>
                </c:pt>
                <c:pt idx="192">
                  <c:v>4.3650000000000001E-2</c:v>
                </c:pt>
                <c:pt idx="193">
                  <c:v>7.2340000000000002E-2</c:v>
                </c:pt>
                <c:pt idx="194">
                  <c:v>1.9998999999999999E-2</c:v>
                </c:pt>
                <c:pt idx="195">
                  <c:v>3.7656000000000002E-2</c:v>
                </c:pt>
                <c:pt idx="196">
                  <c:v>2.1097000000000001E-2</c:v>
                </c:pt>
                <c:pt idx="197">
                  <c:v>-1.2048E-2</c:v>
                </c:pt>
                <c:pt idx="198">
                  <c:v>-0.133079</c:v>
                </c:pt>
                <c:pt idx="199">
                  <c:v>-0.19841200000000001</c:v>
                </c:pt>
                <c:pt idx="200">
                  <c:v>-0.21176400000000001</c:v>
                </c:pt>
                <c:pt idx="201">
                  <c:v>-0.221774</c:v>
                </c:pt>
                <c:pt idx="202">
                  <c:v>-0.21487600000000001</c:v>
                </c:pt>
                <c:pt idx="203">
                  <c:v>-0.162601</c:v>
                </c:pt>
                <c:pt idx="204">
                  <c:v>-0.15350800000000001</c:v>
                </c:pt>
                <c:pt idx="205">
                  <c:v>-1.4851E-2</c:v>
                </c:pt>
                <c:pt idx="206">
                  <c:v>-3.4825000000000002E-2</c:v>
                </c:pt>
                <c:pt idx="207">
                  <c:v>-1.0362E-2</c:v>
                </c:pt>
                <c:pt idx="208">
                  <c:v>3.6842E-2</c:v>
                </c:pt>
                <c:pt idx="209">
                  <c:v>-8.7377999999999997E-2</c:v>
                </c:pt>
                <c:pt idx="210">
                  <c:v>-0.134715</c:v>
                </c:pt>
                <c:pt idx="211">
                  <c:v>-0.17085400000000001</c:v>
                </c:pt>
                <c:pt idx="212">
                  <c:v>-0.175257</c:v>
                </c:pt>
                <c:pt idx="213">
                  <c:v>-0.18324599999999999</c:v>
                </c:pt>
                <c:pt idx="214">
                  <c:v>-0.203045</c:v>
                </c:pt>
                <c:pt idx="215">
                  <c:v>-0.15957399999999999</c:v>
                </c:pt>
                <c:pt idx="216">
                  <c:v>-0.197604</c:v>
                </c:pt>
                <c:pt idx="217">
                  <c:v>-0.145454</c:v>
                </c:pt>
                <c:pt idx="218">
                  <c:v>-0.1125</c:v>
                </c:pt>
                <c:pt idx="219">
                  <c:v>-0.12820500000000001</c:v>
                </c:pt>
                <c:pt idx="220">
                  <c:v>-0.14649599999999999</c:v>
                </c:pt>
                <c:pt idx="221">
                  <c:v>-0.113924</c:v>
                </c:pt>
                <c:pt idx="222">
                  <c:v>2.2388000000000002E-2</c:v>
                </c:pt>
                <c:pt idx="223">
                  <c:v>0.10638300000000001</c:v>
                </c:pt>
                <c:pt idx="224">
                  <c:v>-7.0419999999999996E-3</c:v>
                </c:pt>
                <c:pt idx="225">
                  <c:v>-1.4704999999999999E-2</c:v>
                </c:pt>
                <c:pt idx="226">
                  <c:v>-5.9700999999999997E-2</c:v>
                </c:pt>
                <c:pt idx="227">
                  <c:v>-0.12142799999999999</c:v>
                </c:pt>
                <c:pt idx="228">
                  <c:v>-0.145985</c:v>
                </c:pt>
                <c:pt idx="229">
                  <c:v>-0.28846100000000002</c:v>
                </c:pt>
                <c:pt idx="230">
                  <c:v>-0.29077999999999998</c:v>
                </c:pt>
                <c:pt idx="231">
                  <c:v>-0.22388</c:v>
                </c:pt>
                <c:pt idx="232">
                  <c:v>-0.206349</c:v>
                </c:pt>
                <c:pt idx="233">
                  <c:v>-0.19512099999999999</c:v>
                </c:pt>
                <c:pt idx="234">
                  <c:v>-0.16239300000000001</c:v>
                </c:pt>
                <c:pt idx="235">
                  <c:v>-0.17117099999999999</c:v>
                </c:pt>
                <c:pt idx="236">
                  <c:v>-7.9999000000000001E-2</c:v>
                </c:pt>
                <c:pt idx="237">
                  <c:v>-0.18269199999999999</c:v>
                </c:pt>
                <c:pt idx="238">
                  <c:v>-0.23</c:v>
                </c:pt>
                <c:pt idx="239">
                  <c:v>-0.16161600000000001</c:v>
                </c:pt>
                <c:pt idx="240">
                  <c:v>-0.17346900000000001</c:v>
                </c:pt>
                <c:pt idx="241">
                  <c:v>-0.20652100000000001</c:v>
                </c:pt>
                <c:pt idx="242">
                  <c:v>-0.28260800000000003</c:v>
                </c:pt>
                <c:pt idx="243">
                  <c:v>-0.25882300000000003</c:v>
                </c:pt>
                <c:pt idx="244">
                  <c:v>-0.233766</c:v>
                </c:pt>
                <c:pt idx="245">
                  <c:v>-0.22891500000000001</c:v>
                </c:pt>
                <c:pt idx="246">
                  <c:v>-0.33333299999999999</c:v>
                </c:pt>
                <c:pt idx="247">
                  <c:v>-0.31506800000000001</c:v>
                </c:pt>
                <c:pt idx="248">
                  <c:v>-0.212121</c:v>
                </c:pt>
                <c:pt idx="249">
                  <c:v>-0.12698400000000001</c:v>
                </c:pt>
                <c:pt idx="250">
                  <c:v>-5.0847000000000003E-2</c:v>
                </c:pt>
                <c:pt idx="251">
                  <c:v>-0.171875</c:v>
                </c:pt>
                <c:pt idx="252">
                  <c:v>-0.12962899999999999</c:v>
                </c:pt>
                <c:pt idx="253">
                  <c:v>-0.02</c:v>
                </c:pt>
                <c:pt idx="254">
                  <c:v>-7.6923000000000005E-2</c:v>
                </c:pt>
                <c:pt idx="255">
                  <c:v>-0.2</c:v>
                </c:pt>
                <c:pt idx="256">
                  <c:v>-0.26785700000000001</c:v>
                </c:pt>
                <c:pt idx="257">
                  <c:v>-0.33962199999999998</c:v>
                </c:pt>
                <c:pt idx="258">
                  <c:v>-0.31914799999999999</c:v>
                </c:pt>
                <c:pt idx="259">
                  <c:v>-0.36734600000000001</c:v>
                </c:pt>
                <c:pt idx="260">
                  <c:v>-0.41666599999999998</c:v>
                </c:pt>
                <c:pt idx="261">
                  <c:v>-0.45454499999999998</c:v>
                </c:pt>
                <c:pt idx="262">
                  <c:v>-0.414634</c:v>
                </c:pt>
                <c:pt idx="263">
                  <c:v>-0.25714199999999998</c:v>
                </c:pt>
                <c:pt idx="264">
                  <c:v>-0.187499</c:v>
                </c:pt>
                <c:pt idx="265">
                  <c:v>-0.22580600000000001</c:v>
                </c:pt>
                <c:pt idx="266">
                  <c:v>-0.28571400000000002</c:v>
                </c:pt>
                <c:pt idx="267">
                  <c:v>-0.20833299999999999</c:v>
                </c:pt>
                <c:pt idx="268">
                  <c:v>-0.20833299999999999</c:v>
                </c:pt>
                <c:pt idx="269">
                  <c:v>-0.38461499999999998</c:v>
                </c:pt>
                <c:pt idx="270">
                  <c:v>-0.53846099999999997</c:v>
                </c:pt>
                <c:pt idx="271">
                  <c:v>-0.45833299999999999</c:v>
                </c:pt>
                <c:pt idx="272">
                  <c:v>-0.25</c:v>
                </c:pt>
                <c:pt idx="273">
                  <c:v>-0.263158</c:v>
                </c:pt>
                <c:pt idx="274">
                  <c:v>-0.42105199999999998</c:v>
                </c:pt>
                <c:pt idx="275">
                  <c:v>-0.3125</c:v>
                </c:pt>
                <c:pt idx="276">
                  <c:v>-8.3333000000000004E-2</c:v>
                </c:pt>
                <c:pt idx="277">
                  <c:v>-0.230769</c:v>
                </c:pt>
                <c:pt idx="278">
                  <c:v>-0.4</c:v>
                </c:pt>
                <c:pt idx="279">
                  <c:v>-0.64285599999999998</c:v>
                </c:pt>
                <c:pt idx="280">
                  <c:v>-0.54545399999999999</c:v>
                </c:pt>
                <c:pt idx="281">
                  <c:v>-0.54545399999999999</c:v>
                </c:pt>
                <c:pt idx="282">
                  <c:v>-0.63636400000000004</c:v>
                </c:pt>
                <c:pt idx="283">
                  <c:v>-0.6</c:v>
                </c:pt>
                <c:pt idx="284">
                  <c:v>-0.55555500000000002</c:v>
                </c:pt>
                <c:pt idx="285">
                  <c:v>-0.4</c:v>
                </c:pt>
                <c:pt idx="286">
                  <c:v>-0.20000100000000001</c:v>
                </c:pt>
                <c:pt idx="287">
                  <c:v>0</c:v>
                </c:pt>
                <c:pt idx="288">
                  <c:v>0.250002</c:v>
                </c:pt>
                <c:pt idx="289">
                  <c:v>0</c:v>
                </c:pt>
                <c:pt idx="290">
                  <c:v>0.250002</c:v>
                </c:pt>
                <c:pt idx="291">
                  <c:v>1</c:v>
                </c:pt>
                <c:pt idx="292">
                  <c:v>0.75</c:v>
                </c:pt>
                <c:pt idx="293">
                  <c:v>0.19999900000000001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-0.5</c:v>
                </c:pt>
                <c:pt idx="298">
                  <c:v>-0.71428599999999998</c:v>
                </c:pt>
                <c:pt idx="299">
                  <c:v>-0.83333299999999999</c:v>
                </c:pt>
                <c:pt idx="300">
                  <c:v>-0.60000100000000001</c:v>
                </c:pt>
                <c:pt idx="301">
                  <c:v>-0.50000100000000003</c:v>
                </c:pt>
                <c:pt idx="302">
                  <c:v>-0.4</c:v>
                </c:pt>
                <c:pt idx="303">
                  <c:v>0</c:v>
                </c:pt>
                <c:pt idx="304">
                  <c:v>1.000005</c:v>
                </c:pt>
                <c:pt idx="305">
                  <c:v>3.0000100000000001</c:v>
                </c:pt>
                <c:pt idx="306">
                  <c:v>1.000005</c:v>
                </c:pt>
                <c:pt idx="307">
                  <c:v>0.50000500000000003</c:v>
                </c:pt>
                <c:pt idx="308">
                  <c:v>0</c:v>
                </c:pt>
                <c:pt idx="309">
                  <c:v>0</c:v>
                </c:pt>
                <c:pt idx="310">
                  <c:v>-0.50000100000000003</c:v>
                </c:pt>
                <c:pt idx="311">
                  <c:v>-0.75</c:v>
                </c:pt>
                <c:pt idx="312">
                  <c:v>-0.75</c:v>
                </c:pt>
                <c:pt idx="313">
                  <c:v>-0.66666700000000001</c:v>
                </c:pt>
                <c:pt idx="314">
                  <c:v>-0.33333499999999999</c:v>
                </c:pt>
                <c:pt idx="315">
                  <c:v>-0.33333499999999999</c:v>
                </c:pt>
                <c:pt idx="316">
                  <c:v>0</c:v>
                </c:pt>
                <c:pt idx="317">
                  <c:v>2.0000100000000001</c:v>
                </c:pt>
                <c:pt idx="318">
                  <c:v>2.0000100000000001</c:v>
                </c:pt>
                <c:pt idx="319">
                  <c:v>2.0000100000000001</c:v>
                </c:pt>
                <c:pt idx="320">
                  <c:v>1.000005</c:v>
                </c:pt>
                <c:pt idx="321">
                  <c:v>1.000005</c:v>
                </c:pt>
                <c:pt idx="322">
                  <c:v>1.000005</c:v>
                </c:pt>
                <c:pt idx="323">
                  <c:v>0</c:v>
                </c:pt>
                <c:pt idx="324">
                  <c:v>0</c:v>
                </c:pt>
                <c:pt idx="325">
                  <c:v>0.33333200000000002</c:v>
                </c:pt>
                <c:pt idx="326">
                  <c:v>0</c:v>
                </c:pt>
                <c:pt idx="327">
                  <c:v>-0.249999</c:v>
                </c:pt>
                <c:pt idx="328">
                  <c:v>-0.249999</c:v>
                </c:pt>
                <c:pt idx="329">
                  <c:v>0</c:v>
                </c:pt>
                <c:pt idx="330">
                  <c:v>0</c:v>
                </c:pt>
                <c:pt idx="331">
                  <c:v>-0.249999</c:v>
                </c:pt>
                <c:pt idx="332">
                  <c:v>0</c:v>
                </c:pt>
                <c:pt idx="333">
                  <c:v>0.66666700000000001</c:v>
                </c:pt>
                <c:pt idx="334">
                  <c:v>0.66666700000000001</c:v>
                </c:pt>
                <c:pt idx="335">
                  <c:v>0.33333200000000002</c:v>
                </c:pt>
                <c:pt idx="336">
                  <c:v>1</c:v>
                </c:pt>
                <c:pt idx="337">
                  <c:v>1.333332</c:v>
                </c:pt>
                <c:pt idx="338">
                  <c:v>0.50000100000000003</c:v>
                </c:pt>
                <c:pt idx="339">
                  <c:v>0</c:v>
                </c:pt>
                <c:pt idx="340">
                  <c:v>-0.20000100000000001</c:v>
                </c:pt>
                <c:pt idx="341">
                  <c:v>0</c:v>
                </c:pt>
                <c:pt idx="342">
                  <c:v>-0.16666600000000001</c:v>
                </c:pt>
                <c:pt idx="343">
                  <c:v>-0.57142800000000005</c:v>
                </c:pt>
                <c:pt idx="344">
                  <c:v>-0.33333299999999999</c:v>
                </c:pt>
                <c:pt idx="345">
                  <c:v>-0.20000100000000001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.66666700000000001</c:v>
                </c:pt>
                <c:pt idx="350">
                  <c:v>0.250002</c:v>
                </c:pt>
                <c:pt idx="351">
                  <c:v>-0.249999</c:v>
                </c:pt>
                <c:pt idx="352">
                  <c:v>-0.249999</c:v>
                </c:pt>
                <c:pt idx="353">
                  <c:v>0.250002</c:v>
                </c:pt>
                <c:pt idx="354">
                  <c:v>0.19999900000000001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1.333332</c:v>
                </c:pt>
                <c:pt idx="359">
                  <c:v>0.39999800000000002</c:v>
                </c:pt>
                <c:pt idx="360">
                  <c:v>-0.33333299999999999</c:v>
                </c:pt>
                <c:pt idx="361">
                  <c:v>-0.4</c:v>
                </c:pt>
                <c:pt idx="362">
                  <c:v>-0.4</c:v>
                </c:pt>
                <c:pt idx="363">
                  <c:v>-0.66666700000000001</c:v>
                </c:pt>
                <c:pt idx="364">
                  <c:v>-0.85714299999999999</c:v>
                </c:pt>
                <c:pt idx="365">
                  <c:v>-0.85714299999999999</c:v>
                </c:pt>
                <c:pt idx="366">
                  <c:v>-0.75</c:v>
                </c:pt>
                <c:pt idx="367">
                  <c:v>0.66666700000000001</c:v>
                </c:pt>
                <c:pt idx="368">
                  <c:v>0.66666700000000001</c:v>
                </c:pt>
                <c:pt idx="369">
                  <c:v>2.0000100000000001</c:v>
                </c:pt>
                <c:pt idx="370">
                  <c:v>6.0000210000000003</c:v>
                </c:pt>
                <c:pt idx="371">
                  <c:v>8.0000319999999991</c:v>
                </c:pt>
                <c:pt idx="372">
                  <c:v>7.000032</c:v>
                </c:pt>
                <c:pt idx="373">
                  <c:v>0.59999899999999995</c:v>
                </c:pt>
                <c:pt idx="374">
                  <c:v>0.19999900000000001</c:v>
                </c:pt>
                <c:pt idx="375">
                  <c:v>0</c:v>
                </c:pt>
                <c:pt idx="376">
                  <c:v>-0.28571299999999999</c:v>
                </c:pt>
                <c:pt idx="377">
                  <c:v>-0.11111</c:v>
                </c:pt>
                <c:pt idx="378">
                  <c:v>0.124999</c:v>
                </c:pt>
                <c:pt idx="379">
                  <c:v>0.124999</c:v>
                </c:pt>
                <c:pt idx="380">
                  <c:v>0.83333299999999999</c:v>
                </c:pt>
                <c:pt idx="381">
                  <c:v>0.66666700000000001</c:v>
                </c:pt>
                <c:pt idx="382">
                  <c:v>1</c:v>
                </c:pt>
                <c:pt idx="383">
                  <c:v>0.37499900000000003</c:v>
                </c:pt>
                <c:pt idx="384">
                  <c:v>-0.11111</c:v>
                </c:pt>
                <c:pt idx="385">
                  <c:v>-0.44444400000000001</c:v>
                </c:pt>
                <c:pt idx="386">
                  <c:v>-0.45454499999999998</c:v>
                </c:pt>
                <c:pt idx="387">
                  <c:v>-0.4</c:v>
                </c:pt>
                <c:pt idx="388">
                  <c:v>-0.3</c:v>
                </c:pt>
                <c:pt idx="389">
                  <c:v>-0.18181800000000001</c:v>
                </c:pt>
                <c:pt idx="390">
                  <c:v>0.25</c:v>
                </c:pt>
                <c:pt idx="391">
                  <c:v>1.4</c:v>
                </c:pt>
                <c:pt idx="392">
                  <c:v>1.1666669999999999</c:v>
                </c:pt>
                <c:pt idx="393">
                  <c:v>1.6666669999999999</c:v>
                </c:pt>
                <c:pt idx="394">
                  <c:v>1.1428590000000001</c:v>
                </c:pt>
                <c:pt idx="395">
                  <c:v>0.88888999999999996</c:v>
                </c:pt>
                <c:pt idx="396">
                  <c:v>0.5</c:v>
                </c:pt>
                <c:pt idx="397">
                  <c:v>0.249999</c:v>
                </c:pt>
                <c:pt idx="398">
                  <c:v>0.30769200000000002</c:v>
                </c:pt>
                <c:pt idx="399">
                  <c:v>0.6875</c:v>
                </c:pt>
                <c:pt idx="400">
                  <c:v>1.2</c:v>
                </c:pt>
                <c:pt idx="401">
                  <c:v>1.1176470000000001</c:v>
                </c:pt>
                <c:pt idx="402">
                  <c:v>1.2666660000000001</c:v>
                </c:pt>
                <c:pt idx="403">
                  <c:v>1.3333330000000001</c:v>
                </c:pt>
                <c:pt idx="404">
                  <c:v>1.0588230000000001</c:v>
                </c:pt>
                <c:pt idx="405">
                  <c:v>0.48148099999999999</c:v>
                </c:pt>
                <c:pt idx="406">
                  <c:v>-6.0606E-2</c:v>
                </c:pt>
                <c:pt idx="407">
                  <c:v>-0.25</c:v>
                </c:pt>
                <c:pt idx="408">
                  <c:v>-0.117647</c:v>
                </c:pt>
                <c:pt idx="409">
                  <c:v>-8.5713999999999999E-2</c:v>
                </c:pt>
                <c:pt idx="410">
                  <c:v>-5.7141999999999998E-2</c:v>
                </c:pt>
                <c:pt idx="411">
                  <c:v>-0.125</c:v>
                </c:pt>
                <c:pt idx="412">
                  <c:v>3.2257000000000001E-2</c:v>
                </c:pt>
                <c:pt idx="413">
                  <c:v>0.222222</c:v>
                </c:pt>
                <c:pt idx="414">
                  <c:v>0.13333300000000001</c:v>
                </c:pt>
                <c:pt idx="415">
                  <c:v>-6.25E-2</c:v>
                </c:pt>
                <c:pt idx="416">
                  <c:v>0</c:v>
                </c:pt>
                <c:pt idx="417">
                  <c:v>2.8570999999999999E-2</c:v>
                </c:pt>
                <c:pt idx="418">
                  <c:v>0.31249900000000003</c:v>
                </c:pt>
                <c:pt idx="419">
                  <c:v>0.72727200000000003</c:v>
                </c:pt>
                <c:pt idx="420">
                  <c:v>0.735294</c:v>
                </c:pt>
                <c:pt idx="421">
                  <c:v>1.0333330000000001</c:v>
                </c:pt>
                <c:pt idx="422">
                  <c:v>1.060605</c:v>
                </c:pt>
                <c:pt idx="423">
                  <c:v>0.94444399999999995</c:v>
                </c:pt>
                <c:pt idx="424">
                  <c:v>0.69047599999999998</c:v>
                </c:pt>
                <c:pt idx="425">
                  <c:v>0.19298199999999999</c:v>
                </c:pt>
                <c:pt idx="426">
                  <c:v>0.22033800000000001</c:v>
                </c:pt>
                <c:pt idx="427">
                  <c:v>0.45901599999999998</c:v>
                </c:pt>
                <c:pt idx="428">
                  <c:v>0.41176400000000002</c:v>
                </c:pt>
                <c:pt idx="429">
                  <c:v>0.41428500000000001</c:v>
                </c:pt>
                <c:pt idx="430">
                  <c:v>0.57746399999999998</c:v>
                </c:pt>
                <c:pt idx="431">
                  <c:v>0.83823499999999995</c:v>
                </c:pt>
                <c:pt idx="432">
                  <c:v>0.875</c:v>
                </c:pt>
                <c:pt idx="433">
                  <c:v>0.55056099999999997</c:v>
                </c:pt>
                <c:pt idx="434">
                  <c:v>0.46875</c:v>
                </c:pt>
                <c:pt idx="435">
                  <c:v>0.54545399999999999</c:v>
                </c:pt>
                <c:pt idx="436">
                  <c:v>0.45535700000000001</c:v>
                </c:pt>
                <c:pt idx="437">
                  <c:v>0.27199899999999999</c:v>
                </c:pt>
                <c:pt idx="438">
                  <c:v>0.162962</c:v>
                </c:pt>
                <c:pt idx="439">
                  <c:v>0.152173</c:v>
                </c:pt>
                <c:pt idx="440">
                  <c:v>0.14893600000000001</c:v>
                </c:pt>
                <c:pt idx="441">
                  <c:v>4.5751E-2</c:v>
                </c:pt>
                <c:pt idx="442">
                  <c:v>-6.1349000000000001E-2</c:v>
                </c:pt>
                <c:pt idx="443">
                  <c:v>4.4025000000000002E-2</c:v>
                </c:pt>
                <c:pt idx="444">
                  <c:v>0.13375699999999999</c:v>
                </c:pt>
                <c:pt idx="445">
                  <c:v>0.13836399999999999</c:v>
                </c:pt>
                <c:pt idx="446">
                  <c:v>0.191358</c:v>
                </c:pt>
                <c:pt idx="447">
                  <c:v>0.26249899999999998</c:v>
                </c:pt>
                <c:pt idx="448">
                  <c:v>0.47712399999999999</c:v>
                </c:pt>
                <c:pt idx="449">
                  <c:v>0.34337299999999998</c:v>
                </c:pt>
                <c:pt idx="450">
                  <c:v>0.30336999999999997</c:v>
                </c:pt>
                <c:pt idx="451">
                  <c:v>0.29281699999999999</c:v>
                </c:pt>
                <c:pt idx="452">
                  <c:v>0.24352299999999999</c:v>
                </c:pt>
                <c:pt idx="453">
                  <c:v>0.13861299999999999</c:v>
                </c:pt>
                <c:pt idx="454">
                  <c:v>-8.8489999999999992E-3</c:v>
                </c:pt>
                <c:pt idx="455">
                  <c:v>-9.8654000000000006E-2</c:v>
                </c:pt>
                <c:pt idx="456">
                  <c:v>-6.4655000000000004E-2</c:v>
                </c:pt>
                <c:pt idx="457">
                  <c:v>-0.15384600000000001</c:v>
                </c:pt>
                <c:pt idx="458">
                  <c:v>-0.23749999999999999</c:v>
                </c:pt>
                <c:pt idx="459">
                  <c:v>-0.230434</c:v>
                </c:pt>
                <c:pt idx="460">
                  <c:v>-0.23214199999999999</c:v>
                </c:pt>
                <c:pt idx="461">
                  <c:v>-0.114427</c:v>
                </c:pt>
                <c:pt idx="462">
                  <c:v>-0.18433099999999999</c:v>
                </c:pt>
                <c:pt idx="463">
                  <c:v>-0.20202000000000001</c:v>
                </c:pt>
                <c:pt idx="464">
                  <c:v>-0.163934</c:v>
                </c:pt>
                <c:pt idx="465">
                  <c:v>-0.118644</c:v>
                </c:pt>
                <c:pt idx="466">
                  <c:v>-0.12790699999999999</c:v>
                </c:pt>
                <c:pt idx="467">
                  <c:v>-0.157303</c:v>
                </c:pt>
                <c:pt idx="468">
                  <c:v>-0.248587</c:v>
                </c:pt>
                <c:pt idx="469">
                  <c:v>-0.132911</c:v>
                </c:pt>
                <c:pt idx="470">
                  <c:v>-4.5751E-2</c:v>
                </c:pt>
                <c:pt idx="471">
                  <c:v>-7.6923000000000005E-2</c:v>
                </c:pt>
                <c:pt idx="472">
                  <c:v>-7.9999000000000001E-2</c:v>
                </c:pt>
                <c:pt idx="473">
                  <c:v>-0.13333300000000001</c:v>
                </c:pt>
                <c:pt idx="474">
                  <c:v>-6.0150000000000002E-2</c:v>
                </c:pt>
                <c:pt idx="475">
                  <c:v>-5.1094000000000001E-2</c:v>
                </c:pt>
                <c:pt idx="476">
                  <c:v>-0.14383499999999999</c:v>
                </c:pt>
                <c:pt idx="477">
                  <c:v>-0.20833299999999999</c:v>
                </c:pt>
                <c:pt idx="478">
                  <c:v>-0.17391300000000001</c:v>
                </c:pt>
                <c:pt idx="479">
                  <c:v>-0.15384600000000001</c:v>
                </c:pt>
                <c:pt idx="480">
                  <c:v>-0.08</c:v>
                </c:pt>
                <c:pt idx="481">
                  <c:v>-0.115384</c:v>
                </c:pt>
                <c:pt idx="482">
                  <c:v>-0.12</c:v>
                </c:pt>
                <c:pt idx="483">
                  <c:v>2.6315000000000002E-2</c:v>
                </c:pt>
                <c:pt idx="484">
                  <c:v>7.0175000000000001E-2</c:v>
                </c:pt>
                <c:pt idx="485">
                  <c:v>5.4545000000000003E-2</c:v>
                </c:pt>
                <c:pt idx="486">
                  <c:v>3.4782E-2</c:v>
                </c:pt>
                <c:pt idx="487">
                  <c:v>6.0868999999999999E-2</c:v>
                </c:pt>
                <c:pt idx="488">
                  <c:v>0.10909000000000001</c:v>
                </c:pt>
                <c:pt idx="489">
                  <c:v>-5.1282000000000001E-2</c:v>
                </c:pt>
                <c:pt idx="490">
                  <c:v>-0.22950799999999999</c:v>
                </c:pt>
                <c:pt idx="491">
                  <c:v>-0.275862</c:v>
                </c:pt>
                <c:pt idx="492">
                  <c:v>-0.34453699999999998</c:v>
                </c:pt>
                <c:pt idx="493">
                  <c:v>-0.360655</c:v>
                </c:pt>
                <c:pt idx="494">
                  <c:v>-0.40163900000000002</c:v>
                </c:pt>
                <c:pt idx="495">
                  <c:v>-0.36036000000000001</c:v>
                </c:pt>
                <c:pt idx="496">
                  <c:v>-0.25531900000000002</c:v>
                </c:pt>
                <c:pt idx="497">
                  <c:v>-0.16666600000000001</c:v>
                </c:pt>
                <c:pt idx="498">
                  <c:v>-8.9743000000000003E-2</c:v>
                </c:pt>
                <c:pt idx="499">
                  <c:v>-0.115384</c:v>
                </c:pt>
                <c:pt idx="500">
                  <c:v>-5.4794000000000002E-2</c:v>
                </c:pt>
                <c:pt idx="501">
                  <c:v>-0.12676000000000001</c:v>
                </c:pt>
                <c:pt idx="502">
                  <c:v>-0.18571399999999999</c:v>
                </c:pt>
                <c:pt idx="503">
                  <c:v>-0.14285700000000001</c:v>
                </c:pt>
                <c:pt idx="504">
                  <c:v>-0.23943600000000001</c:v>
                </c:pt>
                <c:pt idx="505">
                  <c:v>-0.18840499999999999</c:v>
                </c:pt>
                <c:pt idx="506">
                  <c:v>-0.115942</c:v>
                </c:pt>
                <c:pt idx="507">
                  <c:v>-1.6129000000000001E-2</c:v>
                </c:pt>
                <c:pt idx="508">
                  <c:v>0.245614</c:v>
                </c:pt>
                <c:pt idx="509">
                  <c:v>0.316666</c:v>
                </c:pt>
                <c:pt idx="510">
                  <c:v>0.55555500000000002</c:v>
                </c:pt>
                <c:pt idx="511">
                  <c:v>0.60714299999999999</c:v>
                </c:pt>
                <c:pt idx="512">
                  <c:v>0.55737700000000001</c:v>
                </c:pt>
                <c:pt idx="513">
                  <c:v>0.65573700000000001</c:v>
                </c:pt>
                <c:pt idx="514">
                  <c:v>0.54929499999999998</c:v>
                </c:pt>
                <c:pt idx="515">
                  <c:v>0.43037900000000001</c:v>
                </c:pt>
                <c:pt idx="516">
                  <c:v>0.39285700000000001</c:v>
                </c:pt>
                <c:pt idx="517">
                  <c:v>0.37777699999999997</c:v>
                </c:pt>
                <c:pt idx="518">
                  <c:v>0.43157800000000002</c:v>
                </c:pt>
                <c:pt idx="519">
                  <c:v>0.435643</c:v>
                </c:pt>
                <c:pt idx="520">
                  <c:v>0.37272699999999997</c:v>
                </c:pt>
                <c:pt idx="521">
                  <c:v>0.265486</c:v>
                </c:pt>
                <c:pt idx="522">
                  <c:v>0.29914499999999999</c:v>
                </c:pt>
                <c:pt idx="523">
                  <c:v>0.20161200000000001</c:v>
                </c:pt>
                <c:pt idx="524">
                  <c:v>8.0881999999999996E-2</c:v>
                </c:pt>
                <c:pt idx="525">
                  <c:v>-8.9654999999999999E-2</c:v>
                </c:pt>
                <c:pt idx="526">
                  <c:v>-7.2846999999999995E-2</c:v>
                </c:pt>
                <c:pt idx="527">
                  <c:v>-6.992E-3</c:v>
                </c:pt>
                <c:pt idx="528">
                  <c:v>6.5779999999999996E-3</c:v>
                </c:pt>
                <c:pt idx="529">
                  <c:v>-6.0401999999999997E-2</c:v>
                </c:pt>
                <c:pt idx="530">
                  <c:v>-4.7619000000000002E-2</c:v>
                </c:pt>
                <c:pt idx="531">
                  <c:v>6.0606E-2</c:v>
                </c:pt>
                <c:pt idx="532">
                  <c:v>5.7141999999999998E-2</c:v>
                </c:pt>
                <c:pt idx="533">
                  <c:v>2.8169E-2</c:v>
                </c:pt>
                <c:pt idx="534">
                  <c:v>-7.1895000000000001E-2</c:v>
                </c:pt>
                <c:pt idx="535">
                  <c:v>-4.2856999999999999E-2</c:v>
                </c:pt>
                <c:pt idx="536">
                  <c:v>-7.1419999999999999E-3</c:v>
                </c:pt>
                <c:pt idx="537">
                  <c:v>1.4285000000000001E-2</c:v>
                </c:pt>
                <c:pt idx="538">
                  <c:v>-5.4053999999999998E-2</c:v>
                </c:pt>
                <c:pt idx="539">
                  <c:v>3.4245999999999999E-2</c:v>
                </c:pt>
                <c:pt idx="540">
                  <c:v>-3.5210999999999999E-2</c:v>
                </c:pt>
                <c:pt idx="541">
                  <c:v>5.2238E-2</c:v>
                </c:pt>
                <c:pt idx="542">
                  <c:v>-7.1939999999999999E-3</c:v>
                </c:pt>
                <c:pt idx="543">
                  <c:v>-6.3380000000000006E-2</c:v>
                </c:pt>
                <c:pt idx="544">
                  <c:v>-8.5713999999999999E-2</c:v>
                </c:pt>
                <c:pt idx="545">
                  <c:v>-0.18543000000000001</c:v>
                </c:pt>
                <c:pt idx="546">
                  <c:v>-0.175182</c:v>
                </c:pt>
                <c:pt idx="547">
                  <c:v>-0.27659499999999998</c:v>
                </c:pt>
                <c:pt idx="548">
                  <c:v>-0.34782600000000002</c:v>
                </c:pt>
                <c:pt idx="549">
                  <c:v>-0.360902</c:v>
                </c:pt>
                <c:pt idx="550">
                  <c:v>-0.35156199999999999</c:v>
                </c:pt>
                <c:pt idx="551">
                  <c:v>-0.34146300000000002</c:v>
                </c:pt>
                <c:pt idx="552">
                  <c:v>-0.28318500000000002</c:v>
                </c:pt>
                <c:pt idx="553">
                  <c:v>-0.26470500000000002</c:v>
                </c:pt>
                <c:pt idx="554">
                  <c:v>-8.8887999999999995E-2</c:v>
                </c:pt>
                <c:pt idx="555">
                  <c:v>-2.3529000000000001E-2</c:v>
                </c:pt>
                <c:pt idx="556">
                  <c:v>-2.4095999999999999E-2</c:v>
                </c:pt>
                <c:pt idx="557">
                  <c:v>2.4691000000000001E-2</c:v>
                </c:pt>
                <c:pt idx="558">
                  <c:v>9.8765000000000006E-2</c:v>
                </c:pt>
                <c:pt idx="559">
                  <c:v>0.12</c:v>
                </c:pt>
                <c:pt idx="560">
                  <c:v>8.5364999999999996E-2</c:v>
                </c:pt>
                <c:pt idx="561">
                  <c:v>4.8191999999999999E-2</c:v>
                </c:pt>
                <c:pt idx="562">
                  <c:v>0.13580200000000001</c:v>
                </c:pt>
                <c:pt idx="563">
                  <c:v>0.15662599999999999</c:v>
                </c:pt>
                <c:pt idx="564">
                  <c:v>3.3707000000000001E-2</c:v>
                </c:pt>
                <c:pt idx="565">
                  <c:v>4.7619000000000002E-2</c:v>
                </c:pt>
                <c:pt idx="566">
                  <c:v>5.6179E-2</c:v>
                </c:pt>
                <c:pt idx="567">
                  <c:v>5.7471000000000001E-2</c:v>
                </c:pt>
                <c:pt idx="568">
                  <c:v>-1.0869E-2</c:v>
                </c:pt>
                <c:pt idx="569">
                  <c:v>-8.3333000000000004E-2</c:v>
                </c:pt>
                <c:pt idx="570">
                  <c:v>4.3478000000000003E-2</c:v>
                </c:pt>
                <c:pt idx="571">
                  <c:v>7.9545000000000005E-2</c:v>
                </c:pt>
                <c:pt idx="572">
                  <c:v>-1.0638E-2</c:v>
                </c:pt>
                <c:pt idx="573">
                  <c:v>-2.1739000000000001E-2</c:v>
                </c:pt>
                <c:pt idx="574">
                  <c:v>0</c:v>
                </c:pt>
                <c:pt idx="575">
                  <c:v>3.4090000000000002E-2</c:v>
                </c:pt>
                <c:pt idx="576">
                  <c:v>-0.125</c:v>
                </c:pt>
                <c:pt idx="577">
                  <c:v>-0.221052</c:v>
                </c:pt>
                <c:pt idx="578">
                  <c:v>-0.22580600000000001</c:v>
                </c:pt>
                <c:pt idx="579">
                  <c:v>-0.2</c:v>
                </c:pt>
                <c:pt idx="580">
                  <c:v>-0.208791</c:v>
                </c:pt>
                <c:pt idx="581">
                  <c:v>-0.29670299999999999</c:v>
                </c:pt>
                <c:pt idx="582">
                  <c:v>-0.25</c:v>
                </c:pt>
                <c:pt idx="583">
                  <c:v>-6.7567000000000002E-2</c:v>
                </c:pt>
                <c:pt idx="584">
                  <c:v>-9.7222000000000003E-2</c:v>
                </c:pt>
                <c:pt idx="585">
                  <c:v>-5.5555E-2</c:v>
                </c:pt>
                <c:pt idx="586">
                  <c:v>-0.13888800000000001</c:v>
                </c:pt>
                <c:pt idx="587">
                  <c:v>-0.109375</c:v>
                </c:pt>
                <c:pt idx="588">
                  <c:v>-0.111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General</c:formatCode>
                <c:ptCount val="40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8.2336032993012</c:v>
                </c:pt>
                <c:pt idx="28">
                  <c:v>3077.8463589309208</c:v>
                </c:pt>
                <c:pt idx="29">
                  <c:v>4777.3388275400002</c:v>
                </c:pt>
                <c:pt idx="30">
                  <c:v>5819.0799865306308</c:v>
                </c:pt>
                <c:pt idx="31">
                  <c:v>4380.3135447006016</c:v>
                </c:pt>
                <c:pt idx="32">
                  <c:v>2495.973075147278</c:v>
                </c:pt>
                <c:pt idx="33">
                  <c:v>1430.7733431460699</c:v>
                </c:pt>
                <c:pt idx="34">
                  <c:v>936.84150232068907</c:v>
                </c:pt>
                <c:pt idx="35">
                  <c:v>775.56489771263728</c:v>
                </c:pt>
                <c:pt idx="36">
                  <c:v>883.02477600230509</c:v>
                </c:pt>
                <c:pt idx="37">
                  <c:v>1119.9971533807077</c:v>
                </c:pt>
                <c:pt idx="38">
                  <c:v>1305.053443541472</c:v>
                </c:pt>
                <c:pt idx="39">
                  <c:v>1285.8821569042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116605209738</c:v>
                </c:pt>
                <c:pt idx="24">
                  <c:v>1492.7708115784089</c:v>
                </c:pt>
                <c:pt idx="25">
                  <c:v>1020.0357417411863</c:v>
                </c:pt>
                <c:pt idx="26">
                  <c:v>715.71382630852861</c:v>
                </c:pt>
                <c:pt idx="27">
                  <c:v>774.77531899143992</c:v>
                </c:pt>
                <c:pt idx="28">
                  <c:v>1118.7832659228745</c:v>
                </c:pt>
                <c:pt idx="29">
                  <c:v>2172.6419049145502</c:v>
                </c:pt>
                <c:pt idx="30">
                  <c:v>3822.1183045835592</c:v>
                </c:pt>
                <c:pt idx="31">
                  <c:v>4476.4235142915995</c:v>
                </c:pt>
                <c:pt idx="32">
                  <c:v>3638.4348180777915</c:v>
                </c:pt>
                <c:pt idx="33">
                  <c:v>2487.5025002480374</c:v>
                </c:pt>
                <c:pt idx="34">
                  <c:v>1622.5733099842817</c:v>
                </c:pt>
                <c:pt idx="35">
                  <c:v>1133.2961596283651</c:v>
                </c:pt>
                <c:pt idx="36">
                  <c:v>1010.5817884317463</c:v>
                </c:pt>
                <c:pt idx="37">
                  <c:v>1008.5245483446278</c:v>
                </c:pt>
                <c:pt idx="38">
                  <c:v>970.93316129818959</c:v>
                </c:pt>
                <c:pt idx="39">
                  <c:v>856.8124430109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General</c:formatCode>
                <c:ptCount val="40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2.4095299991313</c:v>
                </c:pt>
                <c:pt idx="33">
                  <c:v>2378.7431103904955</c:v>
                </c:pt>
                <c:pt idx="34">
                  <c:v>1501.6618485003078</c:v>
                </c:pt>
                <c:pt idx="35">
                  <c:v>1153.64008933067</c:v>
                </c:pt>
                <c:pt idx="36">
                  <c:v>1197.9209930045381</c:v>
                </c:pt>
                <c:pt idx="37">
                  <c:v>1558.4783625768521</c:v>
                </c:pt>
                <c:pt idx="38">
                  <c:v>2191.8349162753725</c:v>
                </c:pt>
                <c:pt idx="39">
                  <c:v>2735.9745845141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General</c:formatCode>
                <c:ptCount val="40"/>
                <c:pt idx="0">
                  <c:v>17.33860161235414</c:v>
                </c:pt>
                <c:pt idx="1">
                  <c:v>22.14398138423374</c:v>
                </c:pt>
                <c:pt idx="2">
                  <c:v>40.476857317845592</c:v>
                </c:pt>
                <c:pt idx="3">
                  <c:v>77.360578260555812</c:v>
                </c:pt>
                <c:pt idx="4">
                  <c:v>113.83015795984166</c:v>
                </c:pt>
                <c:pt idx="5">
                  <c:v>132.46148385835042</c:v>
                </c:pt>
                <c:pt idx="6">
                  <c:v>143.05645761219102</c:v>
                </c:pt>
                <c:pt idx="7">
                  <c:v>147.87692755083506</c:v>
                </c:pt>
                <c:pt idx="8">
                  <c:v>150.19242980658026</c:v>
                </c:pt>
                <c:pt idx="9">
                  <c:v>145.58154551744249</c:v>
                </c:pt>
                <c:pt idx="10">
                  <c:v>127.70808132754837</c:v>
                </c:pt>
                <c:pt idx="11">
                  <c:v>108.43290831375637</c:v>
                </c:pt>
                <c:pt idx="12">
                  <c:v>90.375008752296722</c:v>
                </c:pt>
                <c:pt idx="13">
                  <c:v>76.998414258208982</c:v>
                </c:pt>
                <c:pt idx="14">
                  <c:v>67.07076121239632</c:v>
                </c:pt>
                <c:pt idx="15">
                  <c:v>60.134314556337024</c:v>
                </c:pt>
                <c:pt idx="16">
                  <c:v>68.524447277371749</c:v>
                </c:pt>
                <c:pt idx="17">
                  <c:v>90.651661809644992</c:v>
                </c:pt>
                <c:pt idx="18">
                  <c:v>112.10652557830214</c:v>
                </c:pt>
                <c:pt idx="19">
                  <c:v>147.70925903123006</c:v>
                </c:pt>
                <c:pt idx="20">
                  <c:v>197.24692314853041</c:v>
                </c:pt>
                <c:pt idx="21">
                  <c:v>247.74197451277541</c:v>
                </c:pt>
                <c:pt idx="22">
                  <c:v>307.49400484441304</c:v>
                </c:pt>
                <c:pt idx="23">
                  <c:v>365.01269049491185</c:v>
                </c:pt>
                <c:pt idx="24">
                  <c:v>469.59425291334117</c:v>
                </c:pt>
                <c:pt idx="25">
                  <c:v>707.21910895315023</c:v>
                </c:pt>
                <c:pt idx="26">
                  <c:v>1574.274940960561</c:v>
                </c:pt>
                <c:pt idx="27">
                  <c:v>3000.6394206663658</c:v>
                </c:pt>
                <c:pt idx="28">
                  <c:v>3988.5641350866363</c:v>
                </c:pt>
                <c:pt idx="29">
                  <c:v>4169.4784677404432</c:v>
                </c:pt>
                <c:pt idx="30">
                  <c:v>3719.8434754008822</c:v>
                </c:pt>
                <c:pt idx="31">
                  <c:v>2847.1087106344494</c:v>
                </c:pt>
                <c:pt idx="32">
                  <c:v>1978.8071015263736</c:v>
                </c:pt>
                <c:pt idx="33">
                  <c:v>1422.2297740123452</c:v>
                </c:pt>
                <c:pt idx="34">
                  <c:v>1104.7393720290816</c:v>
                </c:pt>
                <c:pt idx="35">
                  <c:v>932.46667487571733</c:v>
                </c:pt>
                <c:pt idx="36">
                  <c:v>1020.5127678907005</c:v>
                </c:pt>
                <c:pt idx="37">
                  <c:v>1401.0901270605455</c:v>
                </c:pt>
                <c:pt idx="38">
                  <c:v>1662.4601988468162</c:v>
                </c:pt>
                <c:pt idx="39">
                  <c:v>1649.9789542474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General</c:formatCode>
                <c:ptCount val="40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  <c:pt idx="35">
                  <c:v>473.03216143751496</c:v>
                </c:pt>
                <c:pt idx="36">
                  <c:v>316.12587959743394</c:v>
                </c:pt>
                <c:pt idx="37">
                  <c:v>245.96894465504261</c:v>
                </c:pt>
                <c:pt idx="38">
                  <c:v>267.68954809066474</c:v>
                </c:pt>
                <c:pt idx="39">
                  <c:v>293.82182922692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11.092178455872807</c:v>
                </c:pt>
                <c:pt idx="1">
                  <c:v>11.977147924005315</c:v>
                </c:pt>
                <c:pt idx="2">
                  <c:v>17.665722045927726</c:v>
                </c:pt>
                <c:pt idx="3">
                  <c:v>26.147481051643368</c:v>
                </c:pt>
                <c:pt idx="4">
                  <c:v>33.847677347731114</c:v>
                </c:pt>
                <c:pt idx="5">
                  <c:v>43.205988992398652</c:v>
                </c:pt>
                <c:pt idx="6">
                  <c:v>63.115397217042769</c:v>
                </c:pt>
                <c:pt idx="7">
                  <c:v>98.258063854418864</c:v>
                </c:pt>
                <c:pt idx="8">
                  <c:v>139.51014607274777</c:v>
                </c:pt>
                <c:pt idx="9">
                  <c:v>169.69169311023973</c:v>
                </c:pt>
                <c:pt idx="10">
                  <c:v>176.05962558745409</c:v>
                </c:pt>
                <c:pt idx="11">
                  <c:v>160.1001150568525</c:v>
                </c:pt>
                <c:pt idx="12">
                  <c:v>138.37748134587167</c:v>
                </c:pt>
                <c:pt idx="13">
                  <c:v>132.38109175677272</c:v>
                </c:pt>
                <c:pt idx="14">
                  <c:v>137.67046769470059</c:v>
                </c:pt>
                <c:pt idx="15">
                  <c:v>148.33098305402507</c:v>
                </c:pt>
                <c:pt idx="16">
                  <c:v>196.08446461228942</c:v>
                </c:pt>
                <c:pt idx="17">
                  <c:v>282.26918820921031</c:v>
                </c:pt>
                <c:pt idx="18">
                  <c:v>378.66112079387148</c:v>
                </c:pt>
                <c:pt idx="19">
                  <c:v>540.101916498778</c:v>
                </c:pt>
                <c:pt idx="20">
                  <c:v>749.11823794498741</c:v>
                </c:pt>
                <c:pt idx="21">
                  <c:v>907.8716603329425</c:v>
                </c:pt>
                <c:pt idx="22">
                  <c:v>951.80991346405426</c:v>
                </c:pt>
                <c:pt idx="23">
                  <c:v>873.50454438435111</c:v>
                </c:pt>
                <c:pt idx="24">
                  <c:v>735.63928721432785</c:v>
                </c:pt>
                <c:pt idx="25">
                  <c:v>562.16843780199508</c:v>
                </c:pt>
                <c:pt idx="26">
                  <c:v>484.20214669785366</c:v>
                </c:pt>
                <c:pt idx="27">
                  <c:v>657.58642301004306</c:v>
                </c:pt>
                <c:pt idx="28">
                  <c:v>990.97582444976092</c:v>
                </c:pt>
                <c:pt idx="29">
                  <c:v>1541.5927654034556</c:v>
                </c:pt>
                <c:pt idx="30">
                  <c:v>2292.5434673014784</c:v>
                </c:pt>
                <c:pt idx="31">
                  <c:v>2885.8337322008565</c:v>
                </c:pt>
                <c:pt idx="32">
                  <c:v>3122.2588566716317</c:v>
                </c:pt>
                <c:pt idx="33">
                  <c:v>3003.2617257161942</c:v>
                </c:pt>
                <c:pt idx="34">
                  <c:v>2742.6370149470022</c:v>
                </c:pt>
                <c:pt idx="35">
                  <c:v>2663.7075981037656</c:v>
                </c:pt>
                <c:pt idx="36">
                  <c:v>3034.3847552177458</c:v>
                </c:pt>
                <c:pt idx="37">
                  <c:v>3564.5163363500092</c:v>
                </c:pt>
                <c:pt idx="38">
                  <c:v>3764.7358688983145</c:v>
                </c:pt>
                <c:pt idx="39">
                  <c:v>3413.792569000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General</c:formatCode>
                <c:ptCount val="40"/>
                <c:pt idx="0">
                  <c:v>58.267703417791729</c:v>
                </c:pt>
                <c:pt idx="1">
                  <c:v>258.04843118674995</c:v>
                </c:pt>
                <c:pt idx="2">
                  <c:v>627.38742910059034</c:v>
                </c:pt>
                <c:pt idx="3">
                  <c:v>661.0968724265887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0838910164739</c:v>
                </c:pt>
                <c:pt idx="9">
                  <c:v>203.8594095619811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040951975819</c:v>
                </c:pt>
                <c:pt idx="17">
                  <c:v>484.20271967650882</c:v>
                </c:pt>
                <c:pt idx="18">
                  <c:v>680.01965809731792</c:v>
                </c:pt>
                <c:pt idx="19">
                  <c:v>934.52940198195211</c:v>
                </c:pt>
                <c:pt idx="20">
                  <c:v>1382.8799342355644</c:v>
                </c:pt>
                <c:pt idx="21">
                  <c:v>1746.882178085013</c:v>
                </c:pt>
                <c:pt idx="22">
                  <c:v>1776.7657029967108</c:v>
                </c:pt>
                <c:pt idx="23">
                  <c:v>1612.2684450485235</c:v>
                </c:pt>
                <c:pt idx="24">
                  <c:v>1310.756201965982</c:v>
                </c:pt>
                <c:pt idx="25">
                  <c:v>1061.7900185465128</c:v>
                </c:pt>
                <c:pt idx="26">
                  <c:v>1067.6840009685434</c:v>
                </c:pt>
                <c:pt idx="27">
                  <c:v>1594.2016080921048</c:v>
                </c:pt>
                <c:pt idx="28">
                  <c:v>2303.8750062113727</c:v>
                </c:pt>
                <c:pt idx="29">
                  <c:v>3117.5260669415084</c:v>
                </c:pt>
                <c:pt idx="30">
                  <c:v>4277.3135963432032</c:v>
                </c:pt>
                <c:pt idx="31">
                  <c:v>5705.8862559051131</c:v>
                </c:pt>
                <c:pt idx="32">
                  <c:v>8178.8254947484093</c:v>
                </c:pt>
                <c:pt idx="33">
                  <c:v>6917.4902779449303</c:v>
                </c:pt>
                <c:pt idx="34">
                  <c:v>3437.9208833390735</c:v>
                </c:pt>
                <c:pt idx="35">
                  <c:v>3594.4618394797444</c:v>
                </c:pt>
                <c:pt idx="36">
                  <c:v>4813.8957816377169</c:v>
                </c:pt>
                <c:pt idx="37">
                  <c:v>4617.9352276608161</c:v>
                </c:pt>
                <c:pt idx="38">
                  <c:v>3349.6375286979783</c:v>
                </c:pt>
                <c:pt idx="39">
                  <c:v>2291.75959789942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General</c:formatCode>
                <c:ptCount val="40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  <c:pt idx="35">
                  <c:v>484.56012252234291</c:v>
                </c:pt>
                <c:pt idx="36">
                  <c:v>413.41595839079361</c:v>
                </c:pt>
                <c:pt idx="37">
                  <c:v>389.81627602491989</c:v>
                </c:pt>
                <c:pt idx="38">
                  <c:v>320.40033154418694</c:v>
                </c:pt>
                <c:pt idx="39">
                  <c:v>202.07787853029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1208916147554</c:v>
                </c:pt>
                <c:pt idx="12">
                  <c:v>286.60618550771005</c:v>
                </c:pt>
                <c:pt idx="13">
                  <c:v>273.64144331509129</c:v>
                </c:pt>
                <c:pt idx="14">
                  <c:v>285.11198211809284</c:v>
                </c:pt>
                <c:pt idx="15">
                  <c:v>316.18691877735068</c:v>
                </c:pt>
                <c:pt idx="16">
                  <c:v>440.56530769804601</c:v>
                </c:pt>
                <c:pt idx="17">
                  <c:v>656.42714174395337</c:v>
                </c:pt>
                <c:pt idx="18">
                  <c:v>1023.1922835292499</c:v>
                </c:pt>
                <c:pt idx="19">
                  <c:v>1520.312627793711</c:v>
                </c:pt>
                <c:pt idx="20">
                  <c:v>1978.4713378086037</c:v>
                </c:pt>
                <c:pt idx="21">
                  <c:v>2021.8369399433598</c:v>
                </c:pt>
                <c:pt idx="22">
                  <c:v>1500.6295876537906</c:v>
                </c:pt>
                <c:pt idx="23">
                  <c:v>900.95970549138838</c:v>
                </c:pt>
                <c:pt idx="24">
                  <c:v>541.16002311633758</c:v>
                </c:pt>
                <c:pt idx="25">
                  <c:v>376.38196961621668</c:v>
                </c:pt>
                <c:pt idx="26">
                  <c:v>424.34252803934447</c:v>
                </c:pt>
                <c:pt idx="27">
                  <c:v>961.82883304737504</c:v>
                </c:pt>
                <c:pt idx="28">
                  <c:v>1951.070119257653</c:v>
                </c:pt>
                <c:pt idx="29">
                  <c:v>3231.1193358456917</c:v>
                </c:pt>
                <c:pt idx="30">
                  <c:v>4534.6488914134306</c:v>
                </c:pt>
                <c:pt idx="31">
                  <c:v>5153.0356370878808</c:v>
                </c:pt>
                <c:pt idx="32">
                  <c:v>5032.3309662754928</c:v>
                </c:pt>
                <c:pt idx="33">
                  <c:v>4635.1200261002505</c:v>
                </c:pt>
                <c:pt idx="34">
                  <c:v>4291.048800458012</c:v>
                </c:pt>
                <c:pt idx="35">
                  <c:v>4530.6718387824203</c:v>
                </c:pt>
                <c:pt idx="36">
                  <c:v>5812.7432855218212</c:v>
                </c:pt>
                <c:pt idx="37">
                  <c:v>6928.6660561029557</c:v>
                </c:pt>
                <c:pt idx="38">
                  <c:v>6354.768373758463</c:v>
                </c:pt>
                <c:pt idx="39">
                  <c:v>4507.9442188035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L$2:$L$41</c:f>
              <c:numCache>
                <c:formatCode>General</c:formatCode>
                <c:ptCount val="40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604685928013</c:v>
                </c:pt>
                <c:pt idx="21">
                  <c:v>2318.320708451809</c:v>
                </c:pt>
                <c:pt idx="22">
                  <c:v>2299.7420423670542</c:v>
                </c:pt>
                <c:pt idx="23">
                  <c:v>1948.1398706052707</c:v>
                </c:pt>
                <c:pt idx="24">
                  <c:v>1394.1878090604162</c:v>
                </c:pt>
                <c:pt idx="25">
                  <c:v>936.59196540483822</c:v>
                </c:pt>
                <c:pt idx="26">
                  <c:v>731.31053067742687</c:v>
                </c:pt>
                <c:pt idx="27">
                  <c:v>704.88998186656227</c:v>
                </c:pt>
                <c:pt idx="28">
                  <c:v>668.04412634738844</c:v>
                </c:pt>
                <c:pt idx="29">
                  <c:v>1136.6149413883393</c:v>
                </c:pt>
                <c:pt idx="30">
                  <c:v>2598.4298278834995</c:v>
                </c:pt>
                <c:pt idx="31">
                  <c:v>4230.2743211503821</c:v>
                </c:pt>
                <c:pt idx="32">
                  <c:v>4956.6378697342352</c:v>
                </c:pt>
                <c:pt idx="33">
                  <c:v>4777.795305973591</c:v>
                </c:pt>
                <c:pt idx="34">
                  <c:v>4014.7141569618789</c:v>
                </c:pt>
                <c:pt idx="35">
                  <c:v>3127.8851669872124</c:v>
                </c:pt>
                <c:pt idx="36">
                  <c:v>2682.9132887481992</c:v>
                </c:pt>
                <c:pt idx="37">
                  <c:v>2548.5385973620123</c:v>
                </c:pt>
                <c:pt idx="38">
                  <c:v>2311.4498999885118</c:v>
                </c:pt>
                <c:pt idx="39">
                  <c:v>1806.4912833259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1</c:f>
              <c:numCache>
                <c:formatCode>General</c:formatCode>
                <c:ptCount val="40"/>
                <c:pt idx="0">
                  <c:v>229.71475862288105</c:v>
                </c:pt>
                <c:pt idx="1">
                  <c:v>452.57377925503971</c:v>
                </c:pt>
                <c:pt idx="2">
                  <c:v>658.95790162782896</c:v>
                </c:pt>
                <c:pt idx="3">
                  <c:v>765.835582205538</c:v>
                </c:pt>
                <c:pt idx="4">
                  <c:v>726.01314603076855</c:v>
                </c:pt>
                <c:pt idx="5">
                  <c:v>585.25607734235848</c:v>
                </c:pt>
                <c:pt idx="6">
                  <c:v>443.60744580892998</c:v>
                </c:pt>
                <c:pt idx="7">
                  <c:v>336.46356400261351</c:v>
                </c:pt>
                <c:pt idx="8">
                  <c:v>254.45034580173407</c:v>
                </c:pt>
                <c:pt idx="9">
                  <c:v>181.9992447490857</c:v>
                </c:pt>
                <c:pt idx="10">
                  <c:v>121.36029503884996</c:v>
                </c:pt>
                <c:pt idx="11">
                  <c:v>86.802727607649132</c:v>
                </c:pt>
                <c:pt idx="12">
                  <c:v>68.358785339850442</c:v>
                </c:pt>
                <c:pt idx="13">
                  <c:v>56.271981936176189</c:v>
                </c:pt>
                <c:pt idx="14">
                  <c:v>47.59086409214585</c:v>
                </c:pt>
                <c:pt idx="15">
                  <c:v>44.371096850894396</c:v>
                </c:pt>
                <c:pt idx="16">
                  <c:v>48.676796088210978</c:v>
                </c:pt>
                <c:pt idx="17">
                  <c:v>54.58815352982618</c:v>
                </c:pt>
                <c:pt idx="18">
                  <c:v>62.28474936964183</c:v>
                </c:pt>
                <c:pt idx="19">
                  <c:v>87.66471253837787</c:v>
                </c:pt>
                <c:pt idx="20">
                  <c:v>139.64789690254588</c:v>
                </c:pt>
                <c:pt idx="21">
                  <c:v>210.86517638768061</c:v>
                </c:pt>
                <c:pt idx="22">
                  <c:v>314.16604204449811</c:v>
                </c:pt>
                <c:pt idx="23">
                  <c:v>432.59178544417597</c:v>
                </c:pt>
                <c:pt idx="24">
                  <c:v>726.72090326555804</c:v>
                </c:pt>
                <c:pt idx="25">
                  <c:v>1516.4131860539119</c:v>
                </c:pt>
                <c:pt idx="26">
                  <c:v>2698.4712908524343</c:v>
                </c:pt>
                <c:pt idx="27">
                  <c:v>3535.3171071430788</c:v>
                </c:pt>
                <c:pt idx="28">
                  <c:v>3877.0835686362047</c:v>
                </c:pt>
                <c:pt idx="29">
                  <c:v>3787.9801018384492</c:v>
                </c:pt>
                <c:pt idx="30">
                  <c:v>3098.4977926636379</c:v>
                </c:pt>
                <c:pt idx="31">
                  <c:v>2124.0850970115448</c:v>
                </c:pt>
                <c:pt idx="32">
                  <c:v>1319.2108933599145</c:v>
                </c:pt>
                <c:pt idx="33">
                  <c:v>844.7832608611053</c:v>
                </c:pt>
                <c:pt idx="34">
                  <c:v>578.87992410476204</c:v>
                </c:pt>
                <c:pt idx="35">
                  <c:v>478.76502235857924</c:v>
                </c:pt>
                <c:pt idx="36">
                  <c:v>461.16827606436442</c:v>
                </c:pt>
                <c:pt idx="37">
                  <c:v>471.70435167599237</c:v>
                </c:pt>
                <c:pt idx="38">
                  <c:v>488.88700717015121</c:v>
                </c:pt>
                <c:pt idx="39">
                  <c:v>332.13039955917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General</c:formatCode>
                <c:ptCount val="40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  <c:pt idx="35">
                  <c:v>939.68599378461863</c:v>
                </c:pt>
                <c:pt idx="36">
                  <c:v>1293.9461838176194</c:v>
                </c:pt>
                <c:pt idx="37">
                  <c:v>1415.1967952095349</c:v>
                </c:pt>
                <c:pt idx="38">
                  <c:v>1357.28160369644</c:v>
                </c:pt>
                <c:pt idx="39">
                  <c:v>1691.4506571957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0.0%</c:formatCode>
                <c:ptCount val="40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16614769747642</c:v>
                </c:pt>
                <c:pt idx="28">
                  <c:v>0.32841639917862037</c:v>
                </c:pt>
                <c:pt idx="29">
                  <c:v>0.43336726319136193</c:v>
                </c:pt>
                <c:pt idx="30">
                  <c:v>0.41144656441757377</c:v>
                </c:pt>
                <c:pt idx="31">
                  <c:v>0.34894464551202148</c:v>
                </c:pt>
                <c:pt idx="32">
                  <c:v>0.27074293928181647</c:v>
                </c:pt>
                <c:pt idx="33">
                  <c:v>0.20855005696735524</c:v>
                </c:pt>
                <c:pt idx="34">
                  <c:v>0.1698831595833033</c:v>
                </c:pt>
                <c:pt idx="35">
                  <c:v>0.19520303445738488</c:v>
                </c:pt>
                <c:pt idx="36">
                  <c:v>0.23456511572573699</c:v>
                </c:pt>
                <c:pt idx="37">
                  <c:v>0.26768668084456576</c:v>
                </c:pt>
                <c:pt idx="38">
                  <c:v>0.29048348541699043</c:v>
                </c:pt>
                <c:pt idx="39">
                  <c:v>0.256889360901839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0.0%</c:formatCode>
                <c:ptCount val="40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303215543877</c:v>
                </c:pt>
                <c:pt idx="29">
                  <c:v>0.18201497650018639</c:v>
                </c:pt>
                <c:pt idx="30">
                  <c:v>0.23258424343165041</c:v>
                </c:pt>
                <c:pt idx="31">
                  <c:v>0.23946110250835509</c:v>
                </c:pt>
                <c:pt idx="32">
                  <c:v>0.22860510028086384</c:v>
                </c:pt>
                <c:pt idx="33">
                  <c:v>0.20245925621938754</c:v>
                </c:pt>
                <c:pt idx="34">
                  <c:v>0.21163377290025667</c:v>
                </c:pt>
                <c:pt idx="35">
                  <c:v>0.21183964880213094</c:v>
                </c:pt>
                <c:pt idx="36">
                  <c:v>0.23592107915749985</c:v>
                </c:pt>
                <c:pt idx="37">
                  <c:v>0.26639871779065466</c:v>
                </c:pt>
                <c:pt idx="38">
                  <c:v>0.25831008411205258</c:v>
                </c:pt>
                <c:pt idx="39">
                  <c:v>0.2338136536214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0.0%</c:formatCode>
                <c:ptCount val="40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41657268452214</c:v>
                </c:pt>
                <c:pt idx="33">
                  <c:v>0.24508426908678613</c:v>
                </c:pt>
                <c:pt idx="34">
                  <c:v>0.20915940943915942</c:v>
                </c:pt>
                <c:pt idx="35">
                  <c:v>0.20379597171118383</c:v>
                </c:pt>
                <c:pt idx="36">
                  <c:v>0.24874147539318547</c:v>
                </c:pt>
                <c:pt idx="37">
                  <c:v>0.26591151964925602</c:v>
                </c:pt>
                <c:pt idx="38">
                  <c:v>0.30261640076039831</c:v>
                </c:pt>
                <c:pt idx="39">
                  <c:v>0.309975299998055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0.0%</c:formatCode>
                <c:ptCount val="40"/>
                <c:pt idx="0">
                  <c:v>4.3408098157885376E-3</c:v>
                </c:pt>
                <c:pt idx="1">
                  <c:v>6.8108593800141198E-3</c:v>
                </c:pt>
                <c:pt idx="2">
                  <c:v>1.2609648695592545E-2</c:v>
                </c:pt>
                <c:pt idx="3">
                  <c:v>2.0863076873790815E-2</c:v>
                </c:pt>
                <c:pt idx="4">
                  <c:v>2.5569832545335174E-2</c:v>
                </c:pt>
                <c:pt idx="5">
                  <c:v>2.8072768136666513E-2</c:v>
                </c:pt>
                <c:pt idx="6">
                  <c:v>3.0902234636871508E-2</c:v>
                </c:pt>
                <c:pt idx="7">
                  <c:v>3.146811833628007E-2</c:v>
                </c:pt>
                <c:pt idx="8">
                  <c:v>2.8257319762290012E-2</c:v>
                </c:pt>
                <c:pt idx="9">
                  <c:v>2.1661329421106046E-2</c:v>
                </c:pt>
                <c:pt idx="10">
                  <c:v>1.8084808770974535E-2</c:v>
                </c:pt>
                <c:pt idx="11">
                  <c:v>1.510077522533196E-2</c:v>
                </c:pt>
                <c:pt idx="12">
                  <c:v>1.2233858110901847E-2</c:v>
                </c:pt>
                <c:pt idx="13">
                  <c:v>1.0848527681976311E-2</c:v>
                </c:pt>
                <c:pt idx="14">
                  <c:v>9.4715377234737882E-3</c:v>
                </c:pt>
                <c:pt idx="15">
                  <c:v>7.3469162632053744E-3</c:v>
                </c:pt>
                <c:pt idx="16">
                  <c:v>7.0040055115261094E-3</c:v>
                </c:pt>
                <c:pt idx="17">
                  <c:v>9.6101339143124485E-3</c:v>
                </c:pt>
                <c:pt idx="18">
                  <c:v>1.1687742090966277E-2</c:v>
                </c:pt>
                <c:pt idx="19">
                  <c:v>1.5019348087411023E-2</c:v>
                </c:pt>
                <c:pt idx="20">
                  <c:v>1.7749101212906186E-2</c:v>
                </c:pt>
                <c:pt idx="21">
                  <c:v>2.1410194881521825E-2</c:v>
                </c:pt>
                <c:pt idx="22">
                  <c:v>2.5320089194404895E-2</c:v>
                </c:pt>
                <c:pt idx="23">
                  <c:v>3.1835448177544655E-2</c:v>
                </c:pt>
                <c:pt idx="24">
                  <c:v>3.7392561339494514E-2</c:v>
                </c:pt>
                <c:pt idx="25">
                  <c:v>5.1772223714052108E-2</c:v>
                </c:pt>
                <c:pt idx="26">
                  <c:v>0.1099416169886472</c:v>
                </c:pt>
                <c:pt idx="27">
                  <c:v>0.16770627660435258</c:v>
                </c:pt>
                <c:pt idx="28">
                  <c:v>0.16626931477156651</c:v>
                </c:pt>
                <c:pt idx="29">
                  <c:v>0.1642190960980853</c:v>
                </c:pt>
                <c:pt idx="30">
                  <c:v>0.14421071026949278</c:v>
                </c:pt>
                <c:pt idx="31">
                  <c:v>0.11559724632397134</c:v>
                </c:pt>
                <c:pt idx="32">
                  <c:v>0.10701716404592676</c:v>
                </c:pt>
                <c:pt idx="33">
                  <c:v>0.10565698458504329</c:v>
                </c:pt>
                <c:pt idx="34">
                  <c:v>9.8478015670474747E-2</c:v>
                </c:pt>
                <c:pt idx="35">
                  <c:v>9.8978368136378031E-2</c:v>
                </c:pt>
                <c:pt idx="36">
                  <c:v>0.12484475110360249</c:v>
                </c:pt>
                <c:pt idx="37">
                  <c:v>0.15499804085491697</c:v>
                </c:pt>
                <c:pt idx="38">
                  <c:v>0.15188249685427668</c:v>
                </c:pt>
                <c:pt idx="39">
                  <c:v>0.14848513935643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0.0%</c:formatCode>
                <c:ptCount val="40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  <c:pt idx="35">
                  <c:v>0.19537587021779396</c:v>
                </c:pt>
                <c:pt idx="36">
                  <c:v>0.16460851287440884</c:v>
                </c:pt>
                <c:pt idx="37">
                  <c:v>0.18144811372852207</c:v>
                </c:pt>
                <c:pt idx="38">
                  <c:v>0.20324030405592852</c:v>
                </c:pt>
                <c:pt idx="39">
                  <c:v>0.20822035530663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0.0%</c:formatCode>
                <c:ptCount val="40"/>
                <c:pt idx="0">
                  <c:v>5.9877127429687456E-3</c:v>
                </c:pt>
                <c:pt idx="1">
                  <c:v>9.0549769935789615E-3</c:v>
                </c:pt>
                <c:pt idx="2">
                  <c:v>1.4874993876251286E-2</c:v>
                </c:pt>
                <c:pt idx="3">
                  <c:v>2.1098694876174353E-2</c:v>
                </c:pt>
                <c:pt idx="4">
                  <c:v>2.6390103328490698E-2</c:v>
                </c:pt>
                <c:pt idx="5">
                  <c:v>3.4350560761970128E-2</c:v>
                </c:pt>
                <c:pt idx="6">
                  <c:v>5.5997499659520673E-2</c:v>
                </c:pt>
                <c:pt idx="7">
                  <c:v>7.1351887382240714E-2</c:v>
                </c:pt>
                <c:pt idx="8">
                  <c:v>7.6618176487630446E-2</c:v>
                </c:pt>
                <c:pt idx="9">
                  <c:v>7.8566075574703881E-2</c:v>
                </c:pt>
                <c:pt idx="10">
                  <c:v>7.0543204821838429E-2</c:v>
                </c:pt>
                <c:pt idx="11">
                  <c:v>6.22768139799924E-2</c:v>
                </c:pt>
                <c:pt idx="12">
                  <c:v>5.536775679457983E-2</c:v>
                </c:pt>
                <c:pt idx="13">
                  <c:v>5.8218246279424499E-2</c:v>
                </c:pt>
                <c:pt idx="14">
                  <c:v>6.0168219587863045E-2</c:v>
                </c:pt>
                <c:pt idx="15">
                  <c:v>7.5629649173968791E-2</c:v>
                </c:pt>
                <c:pt idx="16">
                  <c:v>0.10700188222051653</c:v>
                </c:pt>
                <c:pt idx="17">
                  <c:v>0.11714594450419151</c:v>
                </c:pt>
                <c:pt idx="18">
                  <c:v>0.1485271193558918</c:v>
                </c:pt>
                <c:pt idx="19">
                  <c:v>0.16559503390689187</c:v>
                </c:pt>
                <c:pt idx="20">
                  <c:v>0.18791215190644381</c:v>
                </c:pt>
                <c:pt idx="21">
                  <c:v>0.20651834965967375</c:v>
                </c:pt>
                <c:pt idx="22">
                  <c:v>0.19902584404380319</c:v>
                </c:pt>
                <c:pt idx="23">
                  <c:v>0.19408876380765239</c:v>
                </c:pt>
                <c:pt idx="24">
                  <c:v>0.17571966033291075</c:v>
                </c:pt>
                <c:pt idx="25">
                  <c:v>0.15574790831102037</c:v>
                </c:pt>
                <c:pt idx="26">
                  <c:v>0.21735866579763322</c:v>
                </c:pt>
                <c:pt idx="27">
                  <c:v>0.22544419767721735</c:v>
                </c:pt>
                <c:pt idx="28">
                  <c:v>0.23668168798447159</c:v>
                </c:pt>
                <c:pt idx="29">
                  <c:v>0.31526928938272075</c:v>
                </c:pt>
                <c:pt idx="30">
                  <c:v>0.43312322745099263</c:v>
                </c:pt>
                <c:pt idx="31">
                  <c:v>0.4922949585465563</c:v>
                </c:pt>
                <c:pt idx="32">
                  <c:v>0.52494660981351382</c:v>
                </c:pt>
                <c:pt idx="33">
                  <c:v>0.54699633395008496</c:v>
                </c:pt>
                <c:pt idx="34">
                  <c:v>0.54687835389889805</c:v>
                </c:pt>
                <c:pt idx="35">
                  <c:v>0.60050608449155329</c:v>
                </c:pt>
                <c:pt idx="36">
                  <c:v>0.60871754432232905</c:v>
                </c:pt>
                <c:pt idx="37">
                  <c:v>0.63278429876447018</c:v>
                </c:pt>
                <c:pt idx="38">
                  <c:v>0.68036649760843748</c:v>
                </c:pt>
                <c:pt idx="39">
                  <c:v>0.57904363636363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0.0%</c:formatCode>
                <c:ptCount val="40"/>
                <c:pt idx="0">
                  <c:v>1.2664570792401693E-2</c:v>
                </c:pt>
                <c:pt idx="1">
                  <c:v>7.2727847548059665E-2</c:v>
                </c:pt>
                <c:pt idx="2">
                  <c:v>9.4513432296560729E-2</c:v>
                </c:pt>
                <c:pt idx="3">
                  <c:v>4.2831783230702129E-2</c:v>
                </c:pt>
                <c:pt idx="4">
                  <c:v>3.0733414462694352E-2</c:v>
                </c:pt>
                <c:pt idx="5">
                  <c:v>2.7825907177032018E-2</c:v>
                </c:pt>
                <c:pt idx="6">
                  <c:v>3.1658826627053833E-2</c:v>
                </c:pt>
                <c:pt idx="7">
                  <c:v>3.5897827627619984E-2</c:v>
                </c:pt>
                <c:pt idx="8">
                  <c:v>4.3226953019873879E-2</c:v>
                </c:pt>
                <c:pt idx="9">
                  <c:v>4.5557040469347422E-2</c:v>
                </c:pt>
                <c:pt idx="10">
                  <c:v>4.3039102347891683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9732134112158E-2</c:v>
                </c:pt>
                <c:pt idx="15">
                  <c:v>3.4936066849191406E-2</c:v>
                </c:pt>
                <c:pt idx="16">
                  <c:v>4.5092329940846172E-2</c:v>
                </c:pt>
                <c:pt idx="17">
                  <c:v>6.2254394775862025E-2</c:v>
                </c:pt>
                <c:pt idx="18">
                  <c:v>7.3599111462349279E-2</c:v>
                </c:pt>
                <c:pt idx="19">
                  <c:v>8.4868908162397103E-2</c:v>
                </c:pt>
                <c:pt idx="20">
                  <c:v>0.11660870469067507</c:v>
                </c:pt>
                <c:pt idx="21">
                  <c:v>0.11914617732365264</c:v>
                </c:pt>
                <c:pt idx="22">
                  <c:v>0.13478692212980434</c:v>
                </c:pt>
                <c:pt idx="23">
                  <c:v>0.13769468669025661</c:v>
                </c:pt>
                <c:pt idx="24">
                  <c:v>0.13154168453696677</c:v>
                </c:pt>
                <c:pt idx="25">
                  <c:v>0.14067017104493687</c:v>
                </c:pt>
                <c:pt idx="26">
                  <c:v>0.18941545568425053</c:v>
                </c:pt>
                <c:pt idx="27">
                  <c:v>0.25260632833807906</c:v>
                </c:pt>
                <c:pt idx="28">
                  <c:v>0.277643370617907</c:v>
                </c:pt>
                <c:pt idx="29">
                  <c:v>0.34742478594433246</c:v>
                </c:pt>
                <c:pt idx="30">
                  <c:v>0.39496951064092073</c:v>
                </c:pt>
                <c:pt idx="31">
                  <c:v>0.43659985403662632</c:v>
                </c:pt>
                <c:pt idx="32">
                  <c:v>0.40541792815693611</c:v>
                </c:pt>
                <c:pt idx="33">
                  <c:v>0.36555597627161429</c:v>
                </c:pt>
                <c:pt idx="34">
                  <c:v>0.3327030306244903</c:v>
                </c:pt>
                <c:pt idx="35">
                  <c:v>0.52813455097304551</c:v>
                </c:pt>
                <c:pt idx="36">
                  <c:v>0.4757271581594032</c:v>
                </c:pt>
                <c:pt idx="37">
                  <c:v>0.44892129178816653</c:v>
                </c:pt>
                <c:pt idx="38">
                  <c:v>0.60882658776605092</c:v>
                </c:pt>
                <c:pt idx="39">
                  <c:v>0.56705123793309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0.0%</c:formatCode>
                <c:ptCount val="40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  <c:pt idx="35">
                  <c:v>0.16463584687441044</c:v>
                </c:pt>
                <c:pt idx="36">
                  <c:v>0.16055372600283233</c:v>
                </c:pt>
                <c:pt idx="37">
                  <c:v>0.15324408579279702</c:v>
                </c:pt>
                <c:pt idx="38">
                  <c:v>0.12322238883498476</c:v>
                </c:pt>
                <c:pt idx="39">
                  <c:v>8.855111283947554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0.0%</c:formatCode>
                <c:ptCount val="40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362084110846E-2</c:v>
                </c:pt>
                <c:pt idx="19">
                  <c:v>1.8289901305118796E-2</c:v>
                </c:pt>
                <c:pt idx="20">
                  <c:v>1.6461207562456292E-2</c:v>
                </c:pt>
                <c:pt idx="21">
                  <c:v>1.0562943044960632E-2</c:v>
                </c:pt>
                <c:pt idx="22">
                  <c:v>8.4512810361085551E-3</c:v>
                </c:pt>
                <c:pt idx="23">
                  <c:v>5.7847750232577324E-3</c:v>
                </c:pt>
                <c:pt idx="24">
                  <c:v>3.1485708829886035E-3</c:v>
                </c:pt>
                <c:pt idx="25">
                  <c:v>3.068613133177894E-3</c:v>
                </c:pt>
                <c:pt idx="26">
                  <c:v>4.7753666062073158E-3</c:v>
                </c:pt>
                <c:pt idx="27">
                  <c:v>1.498984818703231E-2</c:v>
                </c:pt>
                <c:pt idx="28">
                  <c:v>1.394991405593265E-2</c:v>
                </c:pt>
                <c:pt idx="29">
                  <c:v>2.2645218323759143E-2</c:v>
                </c:pt>
                <c:pt idx="30">
                  <c:v>2.8674969143359069E-2</c:v>
                </c:pt>
                <c:pt idx="31">
                  <c:v>2.9196393432697258E-2</c:v>
                </c:pt>
                <c:pt idx="32">
                  <c:v>3.5410049846169148E-2</c:v>
                </c:pt>
                <c:pt idx="33">
                  <c:v>3.1546346213211063E-2</c:v>
                </c:pt>
                <c:pt idx="34">
                  <c:v>3.2523194977816541E-2</c:v>
                </c:pt>
                <c:pt idx="35">
                  <c:v>3.7523981540620595E-2</c:v>
                </c:pt>
                <c:pt idx="36">
                  <c:v>5.1193064417610859E-2</c:v>
                </c:pt>
                <c:pt idx="37">
                  <c:v>5.1458171594492765E-2</c:v>
                </c:pt>
                <c:pt idx="38">
                  <c:v>5.2791963881928999E-2</c:v>
                </c:pt>
                <c:pt idx="39">
                  <c:v>3.313489983878003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0.0%</c:formatCode>
                <c:ptCount val="40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36924397626721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622229922999</c:v>
                </c:pt>
                <c:pt idx="30">
                  <c:v>0.2159361316289973</c:v>
                </c:pt>
                <c:pt idx="31">
                  <c:v>0.27208032476230926</c:v>
                </c:pt>
                <c:pt idx="32">
                  <c:v>0.30979857654136561</c:v>
                </c:pt>
                <c:pt idx="33">
                  <c:v>0.30674374178675495</c:v>
                </c:pt>
                <c:pt idx="34">
                  <c:v>0.29158460215735654</c:v>
                </c:pt>
                <c:pt idx="35">
                  <c:v>0.28276581560978181</c:v>
                </c:pt>
                <c:pt idx="36">
                  <c:v>0.30223524976597016</c:v>
                </c:pt>
                <c:pt idx="37">
                  <c:v>0.3152936796053244</c:v>
                </c:pt>
                <c:pt idx="38">
                  <c:v>0.29265262155865629</c:v>
                </c:pt>
                <c:pt idx="39">
                  <c:v>0.249560610859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1</c:f>
              <c:numCache>
                <c:formatCode>0.0%</c:formatCode>
                <c:ptCount val="40"/>
                <c:pt idx="0">
                  <c:v>9.3768115253399731E-2</c:v>
                </c:pt>
                <c:pt idx="1">
                  <c:v>0.12834347376879807</c:v>
                </c:pt>
                <c:pt idx="2">
                  <c:v>0.14455208446718187</c:v>
                </c:pt>
                <c:pt idx="3">
                  <c:v>0.14611957582194521</c:v>
                </c:pt>
                <c:pt idx="4">
                  <c:v>0.13041778327379014</c:v>
                </c:pt>
                <c:pt idx="5">
                  <c:v>0.11555756267177318</c:v>
                </c:pt>
                <c:pt idx="6">
                  <c:v>0.10164894260631076</c:v>
                </c:pt>
                <c:pt idx="7">
                  <c:v>8.8058606364100137E-2</c:v>
                </c:pt>
                <c:pt idx="8">
                  <c:v>7.1315132931078065E-2</c:v>
                </c:pt>
                <c:pt idx="9">
                  <c:v>4.9587483125626455E-2</c:v>
                </c:pt>
                <c:pt idx="10">
                  <c:v>3.7510182443527842E-2</c:v>
                </c:pt>
                <c:pt idx="11">
                  <c:v>2.8376336440053839E-2</c:v>
                </c:pt>
                <c:pt idx="12">
                  <c:v>2.2598640772455818E-2</c:v>
                </c:pt>
                <c:pt idx="13">
                  <c:v>1.83899943424711E-2</c:v>
                </c:pt>
                <c:pt idx="14">
                  <c:v>1.8177069090042141E-2</c:v>
                </c:pt>
                <c:pt idx="15">
                  <c:v>1.9876029504678802E-2</c:v>
                </c:pt>
                <c:pt idx="16">
                  <c:v>2.1729916422051129E-2</c:v>
                </c:pt>
                <c:pt idx="17">
                  <c:v>2.3953986088817551E-2</c:v>
                </c:pt>
                <c:pt idx="18">
                  <c:v>2.9994337517590137E-2</c:v>
                </c:pt>
                <c:pt idx="19">
                  <c:v>3.9696952676938825E-2</c:v>
                </c:pt>
                <c:pt idx="20">
                  <c:v>5.3803926343344619E-2</c:v>
                </c:pt>
                <c:pt idx="21">
                  <c:v>6.6439559353406841E-2</c:v>
                </c:pt>
                <c:pt idx="22">
                  <c:v>8.1565176997800332E-2</c:v>
                </c:pt>
                <c:pt idx="23">
                  <c:v>0.11180011509277778</c:v>
                </c:pt>
                <c:pt idx="24">
                  <c:v>0.14395230304555751</c:v>
                </c:pt>
                <c:pt idx="25">
                  <c:v>0.21365425594433154</c:v>
                </c:pt>
                <c:pt idx="26">
                  <c:v>0.31220921044658068</c:v>
                </c:pt>
                <c:pt idx="27">
                  <c:v>0.39619530039293205</c:v>
                </c:pt>
                <c:pt idx="28">
                  <c:v>0.3868389217282675</c:v>
                </c:pt>
                <c:pt idx="29">
                  <c:v>0.37772895237088028</c:v>
                </c:pt>
                <c:pt idx="30">
                  <c:v>0.34810513396258325</c:v>
                </c:pt>
                <c:pt idx="31">
                  <c:v>0.28729705928841853</c:v>
                </c:pt>
                <c:pt idx="32">
                  <c:v>0.24300179810738184</c:v>
                </c:pt>
                <c:pt idx="33">
                  <c:v>0.19176234994636693</c:v>
                </c:pt>
                <c:pt idx="34">
                  <c:v>0.16411649296461028</c:v>
                </c:pt>
                <c:pt idx="35">
                  <c:v>0.16300954406518361</c:v>
                </c:pt>
                <c:pt idx="36">
                  <c:v>0.16094751250532022</c:v>
                </c:pt>
                <c:pt idx="37">
                  <c:v>0.17251561783477798</c:v>
                </c:pt>
                <c:pt idx="38">
                  <c:v>0.18301730210201164</c:v>
                </c:pt>
                <c:pt idx="39" formatCode="General">
                  <c:v>9.59081038373649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potvrzených případů od</a:t>
            </a:r>
            <a:r>
              <a:rPr lang="cs-CZ" sz="1300" b="1" baseline="0" dirty="0">
                <a:solidFill>
                  <a:schemeClr val="tx1"/>
                </a:solidFill>
              </a:rPr>
              <a:t> 26. týdne 2021 do 13. týdne 2022</a:t>
            </a:r>
            <a:r>
              <a:rPr lang="cs-CZ" sz="1300" b="1" dirty="0">
                <a:solidFill>
                  <a:schemeClr val="tx1"/>
                </a:solidFill>
              </a:rPr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5247575757575754"/>
          <c:y val="0.26530147707231039"/>
          <c:w val="0.81705673400673395"/>
          <c:h val="0.4595208333333333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95-452E-A057-139C692191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7796809950011</c:v>
                </c:pt>
                <c:pt idx="26">
                  <c:v>335.5358582090285</c:v>
                </c:pt>
                <c:pt idx="27">
                  <c:v>439.23946078241141</c:v>
                </c:pt>
                <c:pt idx="28">
                  <c:v>679.54380514046318</c:v>
                </c:pt>
                <c:pt idx="29">
                  <c:v>1493.0980997740869</c:v>
                </c:pt>
                <c:pt idx="30">
                  <c:v>2329.020204809472</c:v>
                </c:pt>
                <c:pt idx="31">
                  <c:v>2147.4033094821284</c:v>
                </c:pt>
                <c:pt idx="32">
                  <c:v>1491.0315085956634</c:v>
                </c:pt>
                <c:pt idx="33">
                  <c:v>996.47099165237432</c:v>
                </c:pt>
                <c:pt idx="34">
                  <c:v>626.10231833190744</c:v>
                </c:pt>
                <c:pt idx="35">
                  <c:v>507.19384129645772</c:v>
                </c:pt>
                <c:pt idx="36">
                  <c:v>503.38794713528853</c:v>
                </c:pt>
                <c:pt idx="37">
                  <c:v>505.13660120933923</c:v>
                </c:pt>
                <c:pt idx="38">
                  <c:v>465.7965600888503</c:v>
                </c:pt>
                <c:pt idx="39">
                  <c:v>391.0158829220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795-452E-A057-139C692191E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5.2641254503860324</c:v>
                </c:pt>
                <c:pt idx="1">
                  <c:v>6.7130224736192821</c:v>
                </c:pt>
                <c:pt idx="2">
                  <c:v>10.952699572308445</c:v>
                </c:pt>
                <c:pt idx="3">
                  <c:v>15.194781479334923</c:v>
                </c:pt>
                <c:pt idx="4">
                  <c:v>18.65289586839619</c:v>
                </c:pt>
                <c:pt idx="5">
                  <c:v>24.553093124002466</c:v>
                </c:pt>
                <c:pt idx="6">
                  <c:v>38.562304093040304</c:v>
                </c:pt>
                <c:pt idx="7">
                  <c:v>59.695759761378568</c:v>
                </c:pt>
                <c:pt idx="8">
                  <c:v>79.814386311369219</c:v>
                </c:pt>
                <c:pt idx="9">
                  <c:v>89.877306798870521</c:v>
                </c:pt>
                <c:pt idx="10">
                  <c:v>86.182318788583572</c:v>
                </c:pt>
                <c:pt idx="11">
                  <c:v>73.91779626826893</c:v>
                </c:pt>
                <c:pt idx="12">
                  <c:v>64.459685077602742</c:v>
                </c:pt>
                <c:pt idx="13">
                  <c:v>67.921406679169991</c:v>
                </c:pt>
                <c:pt idx="14">
                  <c:v>69.7490610155306</c:v>
                </c:pt>
                <c:pt idx="15">
                  <c:v>78.581922038494469</c:v>
                </c:pt>
                <c:pt idx="16">
                  <c:v>117.50254257379494</c:v>
                </c:pt>
                <c:pt idx="17">
                  <c:v>164.76664563541536</c:v>
                </c:pt>
                <c:pt idx="18">
                  <c:v>213.89447515845615</c:v>
                </c:pt>
                <c:pt idx="19">
                  <c:v>326.20744134032185</c:v>
                </c:pt>
                <c:pt idx="20">
                  <c:v>422.91079660466551</c:v>
                </c:pt>
                <c:pt idx="21">
                  <c:v>484.9608637282771</c:v>
                </c:pt>
                <c:pt idx="22">
                  <c:v>466.8490497357771</c:v>
                </c:pt>
                <c:pt idx="23">
                  <c:v>406.65549464857395</c:v>
                </c:pt>
                <c:pt idx="24">
                  <c:v>328.9837925657539</c:v>
                </c:pt>
                <c:pt idx="25">
                  <c:v>233.18464523624121</c:v>
                </c:pt>
                <c:pt idx="26">
                  <c:v>251.01750146161245</c:v>
                </c:pt>
                <c:pt idx="27">
                  <c:v>406.56892154843058</c:v>
                </c:pt>
                <c:pt idx="28">
                  <c:v>584.40690290133034</c:v>
                </c:pt>
                <c:pt idx="29">
                  <c:v>957.18586250212547</c:v>
                </c:pt>
                <c:pt idx="30">
                  <c:v>1335.3576047993529</c:v>
                </c:pt>
                <c:pt idx="31">
                  <c:v>1550.4761274015032</c:v>
                </c:pt>
                <c:pt idx="32">
                  <c:v>1571.7827292701284</c:v>
                </c:pt>
                <c:pt idx="33">
                  <c:v>1431.478996446066</c:v>
                </c:pt>
                <c:pt idx="34">
                  <c:v>1311.1580185009359</c:v>
                </c:pt>
                <c:pt idx="35">
                  <c:v>1352.5495796028295</c:v>
                </c:pt>
                <c:pt idx="36">
                  <c:v>1681.8351756149164</c:v>
                </c:pt>
                <c:pt idx="37">
                  <c:v>1882.6811607350926</c:v>
                </c:pt>
                <c:pt idx="38">
                  <c:v>1882.0547081632219</c:v>
                </c:pt>
                <c:pt idx="39">
                  <c:v>1531.737860837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5.322379634869002</c:v>
                      </c:pt>
                      <c:pt idx="1">
                        <c:v>65.203203488150081</c:v>
                      </c:pt>
                      <c:pt idx="2">
                        <c:v>82.803642284099553</c:v>
                      </c:pt>
                      <c:pt idx="3">
                        <c:v>90.154515883788505</c:v>
                      </c:pt>
                      <c:pt idx="4">
                        <c:v>97.921967916517687</c:v>
                      </c:pt>
                      <c:pt idx="5">
                        <c:v>106.24485785996715</c:v>
                      </c:pt>
                      <c:pt idx="6">
                        <c:v>115.87823412402236</c:v>
                      </c:pt>
                      <c:pt idx="7">
                        <c:v>120.03533973706958</c:v>
                      </c:pt>
                      <c:pt idx="8">
                        <c:v>122.5087741832459</c:v>
                      </c:pt>
                      <c:pt idx="9">
                        <c:v>119.42782952221926</c:v>
                      </c:pt>
                      <c:pt idx="10">
                        <c:v>119.41915080486424</c:v>
                      </c:pt>
                      <c:pt idx="11">
                        <c:v>125.6244337136926</c:v>
                      </c:pt>
                      <c:pt idx="12">
                        <c:v>118.43845574374872</c:v>
                      </c:pt>
                      <c:pt idx="13">
                        <c:v>115.56580029924218</c:v>
                      </c:pt>
                      <c:pt idx="14">
                        <c:v>129.50382037137967</c:v>
                      </c:pt>
                      <c:pt idx="15">
                        <c:v>198.4909446263118</c:v>
                      </c:pt>
                      <c:pt idx="16">
                        <c:v>347.14869420018675</c:v>
                      </c:pt>
                      <c:pt idx="17">
                        <c:v>475.79332155342098</c:v>
                      </c:pt>
                      <c:pt idx="18">
                        <c:v>501.88154592256501</c:v>
                      </c:pt>
                      <c:pt idx="19">
                        <c:v>639.53468189029411</c:v>
                      </c:pt>
                      <c:pt idx="20">
                        <c:v>980.94674391882279</c:v>
                      </c:pt>
                      <c:pt idx="21">
                        <c:v>1091.5569966083572</c:v>
                      </c:pt>
                      <c:pt idx="22">
                        <c:v>1018.1524052197277</c:v>
                      </c:pt>
                      <c:pt idx="23">
                        <c:v>771.30364749133003</c:v>
                      </c:pt>
                      <c:pt idx="24">
                        <c:v>495.67626301373667</c:v>
                      </c:pt>
                      <c:pt idx="25">
                        <c:v>391.83540986110586</c:v>
                      </c:pt>
                      <c:pt idx="26">
                        <c:v>675.69889710859854</c:v>
                      </c:pt>
                      <c:pt idx="27">
                        <c:v>1352.5347061907025</c:v>
                      </c:pt>
                      <c:pt idx="28">
                        <c:v>1725.3116527402183</c:v>
                      </c:pt>
                      <c:pt idx="29">
                        <c:v>3052.0271747997822</c:v>
                      </c:pt>
                      <c:pt idx="30">
                        <c:v>2767.0528117308486</c:v>
                      </c:pt>
                      <c:pt idx="31">
                        <c:v>1613.260732969753</c:v>
                      </c:pt>
                      <c:pt idx="32">
                        <c:v>882.71234217752499</c:v>
                      </c:pt>
                      <c:pt idx="33">
                        <c:v>548.06100096854493</c:v>
                      </c:pt>
                      <c:pt idx="34">
                        <c:v>388.78050135214414</c:v>
                      </c:pt>
                      <c:pt idx="35">
                        <c:v>386.78439636049308</c:v>
                      </c:pt>
                      <c:pt idx="36">
                        <c:v>496.24037964181196</c:v>
                      </c:pt>
                      <c:pt idx="37">
                        <c:v>623.75677373889562</c:v>
                      </c:pt>
                      <c:pt idx="38">
                        <c:v>681.2966698025765</c:v>
                      </c:pt>
                      <c:pt idx="39">
                        <c:v>604.5854871016902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8B95-4FAB-ADE2-F4AB2C1CD7F1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3.156491357662905</c:v>
                      </c:pt>
                      <c:pt idx="1">
                        <c:v>37.881637218751642</c:v>
                      </c:pt>
                      <c:pt idx="2">
                        <c:v>75.204749788681596</c:v>
                      </c:pt>
                      <c:pt idx="3">
                        <c:v>181.43435546909117</c:v>
                      </c:pt>
                      <c:pt idx="4">
                        <c:v>226.51293929300525</c:v>
                      </c:pt>
                      <c:pt idx="5">
                        <c:v>234.70215841256362</c:v>
                      </c:pt>
                      <c:pt idx="6">
                        <c:v>246.3687876461953</c:v>
                      </c:pt>
                      <c:pt idx="7">
                        <c:v>221.9437323255172</c:v>
                      </c:pt>
                      <c:pt idx="8">
                        <c:v>185.58615438785876</c:v>
                      </c:pt>
                      <c:pt idx="9">
                        <c:v>141.55777515627699</c:v>
                      </c:pt>
                      <c:pt idx="10">
                        <c:v>104.76496391514847</c:v>
                      </c:pt>
                      <c:pt idx="11">
                        <c:v>75.831604580710206</c:v>
                      </c:pt>
                      <c:pt idx="12">
                        <c:v>58.890185379084343</c:v>
                      </c:pt>
                      <c:pt idx="13">
                        <c:v>49.687897614588763</c:v>
                      </c:pt>
                      <c:pt idx="14">
                        <c:v>43.355475864783322</c:v>
                      </c:pt>
                      <c:pt idx="15">
                        <c:v>48.607984264340445</c:v>
                      </c:pt>
                      <c:pt idx="16">
                        <c:v>53.426744798323284</c:v>
                      </c:pt>
                      <c:pt idx="17">
                        <c:v>59.011991286540137</c:v>
                      </c:pt>
                      <c:pt idx="18">
                        <c:v>73.218719321993859</c:v>
                      </c:pt>
                      <c:pt idx="19">
                        <c:v>100.66366988483814</c:v>
                      </c:pt>
                      <c:pt idx="20">
                        <c:v>181.05408336776577</c:v>
                      </c:pt>
                      <c:pt idx="21">
                        <c:v>293.45122719154676</c:v>
                      </c:pt>
                      <c:pt idx="22">
                        <c:v>432.75410762199573</c:v>
                      </c:pt>
                      <c:pt idx="23">
                        <c:v>505.67722480272494</c:v>
                      </c:pt>
                      <c:pt idx="24">
                        <c:v>541.42428776520865</c:v>
                      </c:pt>
                      <c:pt idx="25">
                        <c:v>774.87422203161088</c:v>
                      </c:pt>
                      <c:pt idx="26">
                        <c:v>1701.8825370376112</c:v>
                      </c:pt>
                      <c:pt idx="27">
                        <c:v>2592.5020799101417</c:v>
                      </c:pt>
                      <c:pt idx="28">
                        <c:v>3004.6041444667972</c:v>
                      </c:pt>
                      <c:pt idx="29">
                        <c:v>3687.1405760195426</c:v>
                      </c:pt>
                      <c:pt idx="30">
                        <c:v>3567.05777652288</c:v>
                      </c:pt>
                      <c:pt idx="31">
                        <c:v>2631.1606011483977</c:v>
                      </c:pt>
                      <c:pt idx="32">
                        <c:v>1491.2489288507334</c:v>
                      </c:pt>
                      <c:pt idx="33">
                        <c:v>887.49418153976217</c:v>
                      </c:pt>
                      <c:pt idx="34">
                        <c:v>614.1676669605456</c:v>
                      </c:pt>
                      <c:pt idx="35">
                        <c:v>539.47242237012438</c:v>
                      </c:pt>
                      <c:pt idx="36">
                        <c:v>658.44857063441384</c:v>
                      </c:pt>
                      <c:pt idx="37">
                        <c:v>900.02979194243835</c:v>
                      </c:pt>
                      <c:pt idx="38">
                        <c:v>1291.8051243329344</c:v>
                      </c:pt>
                      <c:pt idx="39">
                        <c:v>1444.16946018117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B95-4FAB-ADE2-F4AB2C1CD7F1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7992439088709524</c:v>
                      </c:pt>
                      <c:pt idx="1">
                        <c:v>13.344737475362786</c:v>
                      </c:pt>
                      <c:pt idx="2">
                        <c:v>27.132119842482805</c:v>
                      </c:pt>
                      <c:pt idx="3">
                        <c:v>50.228458418073004</c:v>
                      </c:pt>
                      <c:pt idx="4">
                        <c:v>63.601699541768639</c:v>
                      </c:pt>
                      <c:pt idx="5">
                        <c:v>68.859784316581781</c:v>
                      </c:pt>
                      <c:pt idx="6">
                        <c:v>74.196673295609259</c:v>
                      </c:pt>
                      <c:pt idx="7">
                        <c:v>73.680254255225833</c:v>
                      </c:pt>
                      <c:pt idx="8">
                        <c:v>76.51217555135446</c:v>
                      </c:pt>
                      <c:pt idx="9">
                        <c:v>69.069369966088033</c:v>
                      </c:pt>
                      <c:pt idx="10">
                        <c:v>58.638711361460338</c:v>
                      </c:pt>
                      <c:pt idx="11">
                        <c:v>49.794196952296026</c:v>
                      </c:pt>
                      <c:pt idx="12">
                        <c:v>40.580811800000696</c:v>
                      </c:pt>
                      <c:pt idx="13">
                        <c:v>36.417602458208286</c:v>
                      </c:pt>
                      <c:pt idx="14">
                        <c:v>30.653158754188023</c:v>
                      </c:pt>
                      <c:pt idx="15">
                        <c:v>29.481155802148997</c:v>
                      </c:pt>
                      <c:pt idx="16">
                        <c:v>39.043291475222752</c:v>
                      </c:pt>
                      <c:pt idx="17">
                        <c:v>51.608370334422233</c:v>
                      </c:pt>
                      <c:pt idx="18">
                        <c:v>60.4981552438799</c:v>
                      </c:pt>
                      <c:pt idx="19">
                        <c:v>87.211103787350169</c:v>
                      </c:pt>
                      <c:pt idx="20">
                        <c:v>110.03581936118026</c:v>
                      </c:pt>
                      <c:pt idx="21">
                        <c:v>137.70615515159514</c:v>
                      </c:pt>
                      <c:pt idx="22">
                        <c:v>169.78784969281787</c:v>
                      </c:pt>
                      <c:pt idx="23">
                        <c:v>195.22484080209401</c:v>
                      </c:pt>
                      <c:pt idx="24">
                        <c:v>274.36941211124713</c:v>
                      </c:pt>
                      <c:pt idx="25">
                        <c:v>432.8496968419031</c:v>
                      </c:pt>
                      <c:pt idx="26">
                        <c:v>1141.4252441186579</c:v>
                      </c:pt>
                      <c:pt idx="27">
                        <c:v>1859.2141765477077</c:v>
                      </c:pt>
                      <c:pt idx="28">
                        <c:v>2129.3499585389286</c:v>
                      </c:pt>
                      <c:pt idx="29">
                        <c:v>2040.1285092015144</c:v>
                      </c:pt>
                      <c:pt idx="30">
                        <c:v>1679.7149661993678</c:v>
                      </c:pt>
                      <c:pt idx="31">
                        <c:v>1167.3937444350818</c:v>
                      </c:pt>
                      <c:pt idx="32">
                        <c:v>811.4133570912918</c:v>
                      </c:pt>
                      <c:pt idx="33">
                        <c:v>610.81641692105336</c:v>
                      </c:pt>
                      <c:pt idx="34">
                        <c:v>493.92295510802819</c:v>
                      </c:pt>
                      <c:pt idx="35">
                        <c:v>438.5437197676892</c:v>
                      </c:pt>
                      <c:pt idx="36">
                        <c:v>581.96904812301125</c:v>
                      </c:pt>
                      <c:pt idx="37">
                        <c:v>819.12107893753421</c:v>
                      </c:pt>
                      <c:pt idx="38">
                        <c:v>843.33911990928186</c:v>
                      </c:pt>
                      <c:pt idx="39">
                        <c:v>806.6398343381372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8B95-4FAB-ADE2-F4AB2C1CD7F1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.2519004504415054</c:v>
                      </c:pt>
                      <c:pt idx="1">
                        <c:v>2.8353473853286228</c:v>
                      </c:pt>
                      <c:pt idx="2">
                        <c:v>3.3266711199704058</c:v>
                      </c:pt>
                      <c:pt idx="3">
                        <c:v>4.0738926330714511</c:v>
                      </c:pt>
                      <c:pt idx="4">
                        <c:v>3.9305898771342638</c:v>
                      </c:pt>
                      <c:pt idx="5">
                        <c:v>3.7361075655052254</c:v>
                      </c:pt>
                      <c:pt idx="6">
                        <c:v>5.0463041912166471</c:v>
                      </c:pt>
                      <c:pt idx="7">
                        <c:v>6.3155571723745858</c:v>
                      </c:pt>
                      <c:pt idx="8">
                        <c:v>11.32091771903775</c:v>
                      </c:pt>
                      <c:pt idx="9">
                        <c:v>14.954666173159271</c:v>
                      </c:pt>
                      <c:pt idx="10">
                        <c:v>19.622241652256211</c:v>
                      </c:pt>
                      <c:pt idx="11">
                        <c:v>26.87950264936088</c:v>
                      </c:pt>
                      <c:pt idx="12">
                        <c:v>31.004574838124185</c:v>
                      </c:pt>
                      <c:pt idx="13">
                        <c:v>37.013054676347657</c:v>
                      </c:pt>
                      <c:pt idx="14">
                        <c:v>46.89070892487517</c:v>
                      </c:pt>
                      <c:pt idx="15">
                        <c:v>70.955336011184158</c:v>
                      </c:pt>
                      <c:pt idx="16">
                        <c:v>144.56177300720628</c:v>
                      </c:pt>
                      <c:pt idx="17">
                        <c:v>246.85946892408086</c:v>
                      </c:pt>
                      <c:pt idx="18">
                        <c:v>362.02370514188715</c:v>
                      </c:pt>
                      <c:pt idx="19">
                        <c:v>520.46537365272377</c:v>
                      </c:pt>
                      <c:pt idx="20">
                        <c:v>663.8295450567407</c:v>
                      </c:pt>
                      <c:pt idx="21">
                        <c:v>726.96464495820987</c:v>
                      </c:pt>
                      <c:pt idx="22">
                        <c:v>622.84495685870525</c:v>
                      </c:pt>
                      <c:pt idx="23">
                        <c:v>423.4698797055251</c:v>
                      </c:pt>
                      <c:pt idx="24">
                        <c:v>301.5601780475327</c:v>
                      </c:pt>
                      <c:pt idx="25">
                        <c:v>173.18138055009015</c:v>
                      </c:pt>
                      <c:pt idx="26">
                        <c:v>173.60105290676333</c:v>
                      </c:pt>
                      <c:pt idx="27">
                        <c:v>361.64497642976738</c:v>
                      </c:pt>
                      <c:pt idx="28">
                        <c:v>518.12135000203693</c:v>
                      </c:pt>
                      <c:pt idx="29">
                        <c:v>953.51606618376354</c:v>
                      </c:pt>
                      <c:pt idx="30">
                        <c:v>1146.6165298091228</c:v>
                      </c:pt>
                      <c:pt idx="31">
                        <c:v>994.52112620407581</c:v>
                      </c:pt>
                      <c:pt idx="32">
                        <c:v>680.81092163529729</c:v>
                      </c:pt>
                      <c:pt idx="33">
                        <c:v>436.18288133938125</c:v>
                      </c:pt>
                      <c:pt idx="34">
                        <c:v>285.1622484038632</c:v>
                      </c:pt>
                      <c:pt idx="35">
                        <c:v>187.86991303365178</c:v>
                      </c:pt>
                      <c:pt idx="36">
                        <c:v>128.2559665637821</c:v>
                      </c:pt>
                      <c:pt idx="37">
                        <c:v>117.71297809126052</c:v>
                      </c:pt>
                      <c:pt idx="38">
                        <c:v>149.97656999940426</c:v>
                      </c:pt>
                      <c:pt idx="39">
                        <c:v>143.8452592275203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8B95-4FAB-ADE2-F4AB2C1CD7F1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3.393489102595218</c:v>
                      </c:pt>
                      <c:pt idx="1">
                        <c:v>224.6549420841547</c:v>
                      </c:pt>
                      <c:pt idx="2">
                        <c:v>402.7324870164357</c:v>
                      </c:pt>
                      <c:pt idx="3">
                        <c:v>258.36438541015309</c:v>
                      </c:pt>
                      <c:pt idx="4">
                        <c:v>140.14580425716721</c:v>
                      </c:pt>
                      <c:pt idx="5">
                        <c:v>103.60426216502749</c:v>
                      </c:pt>
                      <c:pt idx="6">
                        <c:v>92.557353590403252</c:v>
                      </c:pt>
                      <c:pt idx="7">
                        <c:v>97.187519118820902</c:v>
                      </c:pt>
                      <c:pt idx="8">
                        <c:v>102.42086998282646</c:v>
                      </c:pt>
                      <c:pt idx="9">
                        <c:v>101.43853957915471</c:v>
                      </c:pt>
                      <c:pt idx="10">
                        <c:v>96.027105425594641</c:v>
                      </c:pt>
                      <c:pt idx="11">
                        <c:v>80.545348478838392</c:v>
                      </c:pt>
                      <c:pt idx="12">
                        <c:v>66.706553493778728</c:v>
                      </c:pt>
                      <c:pt idx="13">
                        <c:v>66.310174558963809</c:v>
                      </c:pt>
                      <c:pt idx="14">
                        <c:v>92.677990657520837</c:v>
                      </c:pt>
                      <c:pt idx="15">
                        <c:v>135.17096139412791</c:v>
                      </c:pt>
                      <c:pt idx="16">
                        <c:v>200.07944812563028</c:v>
                      </c:pt>
                      <c:pt idx="17">
                        <c:v>284.12327155087854</c:v>
                      </c:pt>
                      <c:pt idx="18">
                        <c:v>395.89638654643937</c:v>
                      </c:pt>
                      <c:pt idx="19">
                        <c:v>538.63301543551279</c:v>
                      </c:pt>
                      <c:pt idx="20">
                        <c:v>844.24691880005184</c:v>
                      </c:pt>
                      <c:pt idx="21">
                        <c:v>902.63525928496108</c:v>
                      </c:pt>
                      <c:pt idx="22">
                        <c:v>874.13044371174988</c:v>
                      </c:pt>
                      <c:pt idx="23">
                        <c:v>738.13800133677353</c:v>
                      </c:pt>
                      <c:pt idx="24">
                        <c:v>572.61820062920845</c:v>
                      </c:pt>
                      <c:pt idx="25">
                        <c:v>489.17181791730439</c:v>
                      </c:pt>
                      <c:pt idx="26">
                        <c:v>578.51218305123882</c:v>
                      </c:pt>
                      <c:pt idx="27">
                        <c:v>1015.6894250408659</c:v>
                      </c:pt>
                      <c:pt idx="28">
                        <c:v>1288.185581170507</c:v>
                      </c:pt>
                      <c:pt idx="29">
                        <c:v>1829.3404857710018</c:v>
                      </c:pt>
                      <c:pt idx="30">
                        <c:v>2447.9731105722017</c:v>
                      </c:pt>
                      <c:pt idx="31">
                        <c:v>3257.913145332911</c:v>
                      </c:pt>
                      <c:pt idx="32">
                        <c:v>4920.9123494154992</c:v>
                      </c:pt>
                      <c:pt idx="33">
                        <c:v>1996.5779285294311</c:v>
                      </c:pt>
                      <c:pt idx="34">
                        <c:v>1441.3429548096419</c:v>
                      </c:pt>
                      <c:pt idx="35">
                        <c:v>2153.118884670102</c:v>
                      </c:pt>
                      <c:pt idx="36">
                        <c:v>2660.7768969676149</c:v>
                      </c:pt>
                      <c:pt idx="37">
                        <c:v>1957.1583306932007</c:v>
                      </c:pt>
                      <c:pt idx="38">
                        <c:v>1392.4791980047778</c:v>
                      </c:pt>
                      <c:pt idx="39">
                        <c:v>899.2803998946436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8B95-4FAB-ADE2-F4AB2C1CD7F1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.630743847340457</c:v>
                      </c:pt>
                      <c:pt idx="1">
                        <c:v>1.4753094580139838</c:v>
                      </c:pt>
                      <c:pt idx="2">
                        <c:v>1.6570886590907066</c:v>
                      </c:pt>
                      <c:pt idx="3">
                        <c:v>1.9442471071684286</c:v>
                      </c:pt>
                      <c:pt idx="4">
                        <c:v>2.3604951328223742</c:v>
                      </c:pt>
                      <c:pt idx="5">
                        <c:v>2.7451293843760198</c:v>
                      </c:pt>
                      <c:pt idx="6">
                        <c:v>3.4274600087074871</c:v>
                      </c:pt>
                      <c:pt idx="7">
                        <c:v>3.5565495862837109</c:v>
                      </c:pt>
                      <c:pt idx="8">
                        <c:v>4.2467836541402537</c:v>
                      </c:pt>
                      <c:pt idx="9">
                        <c:v>6.014520522582008</c:v>
                      </c:pt>
                      <c:pt idx="10">
                        <c:v>8.5646983000061798</c:v>
                      </c:pt>
                      <c:pt idx="11">
                        <c:v>11.539027546609372</c:v>
                      </c:pt>
                      <c:pt idx="12">
                        <c:v>14.115550135783794</c:v>
                      </c:pt>
                      <c:pt idx="13">
                        <c:v>20.801863357997171</c:v>
                      </c:pt>
                      <c:pt idx="14">
                        <c:v>30.970960693593558</c:v>
                      </c:pt>
                      <c:pt idx="15">
                        <c:v>46.946454538944984</c:v>
                      </c:pt>
                      <c:pt idx="16">
                        <c:v>91.564027719167896</c:v>
                      </c:pt>
                      <c:pt idx="17">
                        <c:v>142.98646577448031</c:v>
                      </c:pt>
                      <c:pt idx="18">
                        <c:v>214.39934698588218</c:v>
                      </c:pt>
                      <c:pt idx="19">
                        <c:v>269.99743770360914</c:v>
                      </c:pt>
                      <c:pt idx="20">
                        <c:v>378.62763447458883</c:v>
                      </c:pt>
                      <c:pt idx="21">
                        <c:v>430.01845875580096</c:v>
                      </c:pt>
                      <c:pt idx="22">
                        <c:v>431.23558905866247</c:v>
                      </c:pt>
                      <c:pt idx="23">
                        <c:v>408.2049546265942</c:v>
                      </c:pt>
                      <c:pt idx="24">
                        <c:v>339.38176841024182</c:v>
                      </c:pt>
                      <c:pt idx="25">
                        <c:v>227.70611140093331</c:v>
                      </c:pt>
                      <c:pt idx="26">
                        <c:v>208.07659216582223</c:v>
                      </c:pt>
                      <c:pt idx="27">
                        <c:v>229.57395855402601</c:v>
                      </c:pt>
                      <c:pt idx="28">
                        <c:v>270.0422238835846</c:v>
                      </c:pt>
                      <c:pt idx="29">
                        <c:v>589.70753517993955</c:v>
                      </c:pt>
                      <c:pt idx="30">
                        <c:v>892.54378073023497</c:v>
                      </c:pt>
                      <c:pt idx="31">
                        <c:v>884.62189583693487</c:v>
                      </c:pt>
                      <c:pt idx="32">
                        <c:v>599.29441217585543</c:v>
                      </c:pt>
                      <c:pt idx="33">
                        <c:v>391.15459246183252</c:v>
                      </c:pt>
                      <c:pt idx="34">
                        <c:v>273.0508013854631</c:v>
                      </c:pt>
                      <c:pt idx="35">
                        <c:v>211.50932113687981</c:v>
                      </c:pt>
                      <c:pt idx="36">
                        <c:v>201.9066372539138</c:v>
                      </c:pt>
                      <c:pt idx="37">
                        <c:v>187.90963877100609</c:v>
                      </c:pt>
                      <c:pt idx="38">
                        <c:v>132.4906927731808</c:v>
                      </c:pt>
                      <c:pt idx="39">
                        <c:v>69.58718575710959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8B95-4FAB-ADE2-F4AB2C1CD7F1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7.1115093656219077</c:v>
                      </c:pt>
                      <c:pt idx="1">
                        <c:v>12.279430863546201</c:v>
                      </c:pt>
                      <c:pt idx="2">
                        <c:v>24.637504010756469</c:v>
                      </c:pt>
                      <c:pt idx="3">
                        <c:v>28.457272074439636</c:v>
                      </c:pt>
                      <c:pt idx="4">
                        <c:v>36.523723455982342</c:v>
                      </c:pt>
                      <c:pt idx="5">
                        <c:v>41.19732202801822</c:v>
                      </c:pt>
                      <c:pt idx="6">
                        <c:v>66.295445128807074</c:v>
                      </c:pt>
                      <c:pt idx="7">
                        <c:v>90.607145392955275</c:v>
                      </c:pt>
                      <c:pt idx="8">
                        <c:v>106.00979837916006</c:v>
                      </c:pt>
                      <c:pt idx="9">
                        <c:v>127.01852272941751</c:v>
                      </c:pt>
                      <c:pt idx="10">
                        <c:v>157.95864404525122</c:v>
                      </c:pt>
                      <c:pt idx="11">
                        <c:v>154.45344511622432</c:v>
                      </c:pt>
                      <c:pt idx="12">
                        <c:v>132.15274039148579</c:v>
                      </c:pt>
                      <c:pt idx="13">
                        <c:v>141.48870292360553</c:v>
                      </c:pt>
                      <c:pt idx="14">
                        <c:v>143.62327919448731</c:v>
                      </c:pt>
                      <c:pt idx="15">
                        <c:v>172.56363958286335</c:v>
                      </c:pt>
                      <c:pt idx="16">
                        <c:v>268.00166811518261</c:v>
                      </c:pt>
                      <c:pt idx="17">
                        <c:v>388.4254736287707</c:v>
                      </c:pt>
                      <c:pt idx="18">
                        <c:v>634.7668099004793</c:v>
                      </c:pt>
                      <c:pt idx="19">
                        <c:v>885.54581789323174</c:v>
                      </c:pt>
                      <c:pt idx="20">
                        <c:v>1092.9255199153718</c:v>
                      </c:pt>
                      <c:pt idx="21">
                        <c:v>928.91142002798767</c:v>
                      </c:pt>
                      <c:pt idx="22">
                        <c:v>571.71816762580295</c:v>
                      </c:pt>
                      <c:pt idx="23">
                        <c:v>329.24153786558549</c:v>
                      </c:pt>
                      <c:pt idx="24">
                        <c:v>211.91848525075204</c:v>
                      </c:pt>
                      <c:pt idx="25">
                        <c:v>164.46348436546461</c:v>
                      </c:pt>
                      <c:pt idx="26">
                        <c:v>259.87904367387989</c:v>
                      </c:pt>
                      <c:pt idx="27">
                        <c:v>701.94978937349515</c:v>
                      </c:pt>
                      <c:pt idx="28">
                        <c:v>1249.1203298841579</c:v>
                      </c:pt>
                      <c:pt idx="29">
                        <c:v>1981.9990059615347</c:v>
                      </c:pt>
                      <c:pt idx="30">
                        <c:v>2552.6498854518964</c:v>
                      </c:pt>
                      <c:pt idx="31">
                        <c:v>2600.385751635984</c:v>
                      </c:pt>
                      <c:pt idx="32">
                        <c:v>2431.9452146395083</c:v>
                      </c:pt>
                      <c:pt idx="33">
                        <c:v>2203.1748114607421</c:v>
                      </c:pt>
                      <c:pt idx="34">
                        <c:v>2087.8739889972703</c:v>
                      </c:pt>
                      <c:pt idx="35">
                        <c:v>2442.7978497851491</c:v>
                      </c:pt>
                      <c:pt idx="36">
                        <c:v>3369.9454357366717</c:v>
                      </c:pt>
                      <c:pt idx="37">
                        <c:v>3558.720620366284</c:v>
                      </c:pt>
                      <c:pt idx="38">
                        <c:v>2796.0477533921785</c:v>
                      </c:pt>
                      <c:pt idx="39">
                        <c:v>1711.896465411326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8B95-4FAB-ADE2-F4AB2C1CD7F1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4.1957737015866803</c:v>
                      </c:pt>
                      <c:pt idx="1">
                        <c:v>4.2873844810973063</c:v>
                      </c:pt>
                      <c:pt idx="2">
                        <c:v>3.9392635189569267</c:v>
                      </c:pt>
                      <c:pt idx="3">
                        <c:v>5.8264455768758268</c:v>
                      </c:pt>
                      <c:pt idx="4">
                        <c:v>7.6586611670883515</c:v>
                      </c:pt>
                      <c:pt idx="5">
                        <c:v>7.7319497906968531</c:v>
                      </c:pt>
                      <c:pt idx="6">
                        <c:v>10.406984552407136</c:v>
                      </c:pt>
                      <c:pt idx="7">
                        <c:v>12.40409954573879</c:v>
                      </c:pt>
                      <c:pt idx="8">
                        <c:v>15.042489995644823</c:v>
                      </c:pt>
                      <c:pt idx="9">
                        <c:v>31.330886592634162</c:v>
                      </c:pt>
                      <c:pt idx="10">
                        <c:v>56.249018619524492</c:v>
                      </c:pt>
                      <c:pt idx="11">
                        <c:v>90.236617817966817</c:v>
                      </c:pt>
                      <c:pt idx="12">
                        <c:v>120.21166487384372</c:v>
                      </c:pt>
                      <c:pt idx="13">
                        <c:v>160.53873001442136</c:v>
                      </c:pt>
                      <c:pt idx="14">
                        <c:v>200.55431850466289</c:v>
                      </c:pt>
                      <c:pt idx="15">
                        <c:v>246.34138610407391</c:v>
                      </c:pt>
                      <c:pt idx="16">
                        <c:v>411.64387665304781</c:v>
                      </c:pt>
                      <c:pt idx="17">
                        <c:v>601.75456629349935</c:v>
                      </c:pt>
                      <c:pt idx="18">
                        <c:v>790.76592657982337</c:v>
                      </c:pt>
                      <c:pt idx="19">
                        <c:v>941.9053906164545</c:v>
                      </c:pt>
                      <c:pt idx="20">
                        <c:v>1141.8550779763473</c:v>
                      </c:pt>
                      <c:pt idx="21">
                        <c:v>1176.4656304754617</c:v>
                      </c:pt>
                      <c:pt idx="22">
                        <c:v>1123.2764118915923</c:v>
                      </c:pt>
                      <c:pt idx="23">
                        <c:v>824.86345871367826</c:v>
                      </c:pt>
                      <c:pt idx="24">
                        <c:v>569.32435034673756</c:v>
                      </c:pt>
                      <c:pt idx="25">
                        <c:v>367.26761505810049</c:v>
                      </c:pt>
                      <c:pt idx="26">
                        <c:v>364.04291561932644</c:v>
                      </c:pt>
                      <c:pt idx="27">
                        <c:v>340.84706624723589</c:v>
                      </c:pt>
                      <c:pt idx="28">
                        <c:v>327.19706010015256</c:v>
                      </c:pt>
                      <c:pt idx="29">
                        <c:v>809.41788128818678</c:v>
                      </c:pt>
                      <c:pt idx="30">
                        <c:v>1789.011946595313</c:v>
                      </c:pt>
                      <c:pt idx="31">
                        <c:v>2441.2623745550691</c:v>
                      </c:pt>
                      <c:pt idx="32">
                        <c:v>2515.3754951791661</c:v>
                      </c:pt>
                      <c:pt idx="33">
                        <c:v>2262.4198107944248</c:v>
                      </c:pt>
                      <c:pt idx="34">
                        <c:v>1752.2943461674538</c:v>
                      </c:pt>
                      <c:pt idx="35">
                        <c:v>1375.5908208197588</c:v>
                      </c:pt>
                      <c:pt idx="36">
                        <c:v>1307.3224679284403</c:v>
                      </c:pt>
                      <c:pt idx="37">
                        <c:v>1241.2161294335724</c:v>
                      </c:pt>
                      <c:pt idx="38">
                        <c:v>1070.2337705549396</c:v>
                      </c:pt>
                      <c:pt idx="39">
                        <c:v>736.2575127710007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8B95-4FAB-ADE2-F4AB2C1CD7F1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66.77084430621136</c:v>
                      </c:pt>
                      <c:pt idx="1">
                        <c:v>285.80293494882829</c:v>
                      </c:pt>
                      <c:pt idx="2">
                        <c:v>373.15496667900067</c:v>
                      </c:pt>
                      <c:pt idx="3">
                        <c:v>392.68061552653739</c:v>
                      </c:pt>
                      <c:pt idx="4">
                        <c:v>333.33253050423122</c:v>
                      </c:pt>
                      <c:pt idx="5">
                        <c:v>251.92354683812729</c:v>
                      </c:pt>
                      <c:pt idx="6">
                        <c:v>191.68389897080266</c:v>
                      </c:pt>
                      <c:pt idx="7">
                        <c:v>144.77966503181082</c:v>
                      </c:pt>
                      <c:pt idx="8">
                        <c:v>109.67068076992324</c:v>
                      </c:pt>
                      <c:pt idx="9">
                        <c:v>72.328563979162453</c:v>
                      </c:pt>
                      <c:pt idx="10">
                        <c:v>49.031731059687516</c:v>
                      </c:pt>
                      <c:pt idx="11">
                        <c:v>37.770996547961623</c:v>
                      </c:pt>
                      <c:pt idx="12">
                        <c:v>30.587788791888823</c:v>
                      </c:pt>
                      <c:pt idx="13">
                        <c:v>25.684193144287363</c:v>
                      </c:pt>
                      <c:pt idx="14">
                        <c:v>21.90667094785849</c:v>
                      </c:pt>
                      <c:pt idx="15">
                        <c:v>22.464425903035906</c:v>
                      </c:pt>
                      <c:pt idx="16">
                        <c:v>26.212370185175068</c:v>
                      </c:pt>
                      <c:pt idx="17">
                        <c:v>28.375783344651111</c:v>
                      </c:pt>
                      <c:pt idx="18">
                        <c:v>33.908966024990718</c:v>
                      </c:pt>
                      <c:pt idx="19">
                        <c:v>53.755746513387159</c:v>
                      </c:pt>
                      <c:pt idx="20">
                        <c:v>85.892150389158729</c:v>
                      </c:pt>
                      <c:pt idx="21">
                        <c:v>124.97302599852186</c:v>
                      </c:pt>
                      <c:pt idx="22">
                        <c:v>189.19301604597624</c:v>
                      </c:pt>
                      <c:pt idx="23">
                        <c:v>243.3987693981997</c:v>
                      </c:pt>
                      <c:pt idx="24">
                        <c:v>483.32213386735833</c:v>
                      </c:pt>
                      <c:pt idx="25">
                        <c:v>1033.0910521865537</c:v>
                      </c:pt>
                      <c:pt idx="26">
                        <c:v>1665.3802386658804</c:v>
                      </c:pt>
                      <c:pt idx="27">
                        <c:v>1869.9368684771982</c:v>
                      </c:pt>
                      <c:pt idx="28">
                        <c:v>2007.1467001590067</c:v>
                      </c:pt>
                      <c:pt idx="29">
                        <c:v>1780.8334016794427</c:v>
                      </c:pt>
                      <c:pt idx="30">
                        <c:v>1317.6643909841953</c:v>
                      </c:pt>
                      <c:pt idx="31">
                        <c:v>806.4207060273493</c:v>
                      </c:pt>
                      <c:pt idx="32">
                        <c:v>512.79018733256521</c:v>
                      </c:pt>
                      <c:pt idx="33">
                        <c:v>331.99307352853992</c:v>
                      </c:pt>
                      <c:pt idx="34">
                        <c:v>246.88685057622214</c:v>
                      </c:pt>
                      <c:pt idx="35">
                        <c:v>231.87817178235707</c:v>
                      </c:pt>
                      <c:pt idx="36">
                        <c:v>229.29010428200735</c:v>
                      </c:pt>
                      <c:pt idx="37">
                        <c:v>242.41424739398502</c:v>
                      </c:pt>
                      <c:pt idx="38">
                        <c:v>246.47275977616616</c:v>
                      </c:pt>
                      <c:pt idx="39">
                        <c:v>85.65763978300458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49AF-4F0F-9F24-6EADCC764DFA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2-A50C-414A-BE02-F1C320178424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78.56506264198623</c:v>
                      </c:pt>
                      <c:pt idx="1">
                        <c:v>345.2872069401609</c:v>
                      </c:pt>
                      <c:pt idx="2">
                        <c:v>497.83085810795717</c:v>
                      </c:pt>
                      <c:pt idx="3">
                        <c:v>333.86050159989304</c:v>
                      </c:pt>
                      <c:pt idx="4">
                        <c:v>270.80718631478879</c:v>
                      </c:pt>
                      <c:pt idx="5">
                        <c:v>290.36790744054247</c:v>
                      </c:pt>
                      <c:pt idx="6">
                        <c:v>305.50017416285425</c:v>
                      </c:pt>
                      <c:pt idx="7">
                        <c:v>351.36567935789117</c:v>
                      </c:pt>
                      <c:pt idx="8">
                        <c:v>353.67834930846101</c:v>
                      </c:pt>
                      <c:pt idx="9">
                        <c:v>393.02165506856812</c:v>
                      </c:pt>
                      <c:pt idx="10">
                        <c:v>337.5748787504906</c:v>
                      </c:pt>
                      <c:pt idx="11">
                        <c:v>312.88484962128121</c:v>
                      </c:pt>
                      <c:pt idx="12">
                        <c:v>359.53789680710935</c:v>
                      </c:pt>
                      <c:pt idx="13">
                        <c:v>341.99304809061988</c:v>
                      </c:pt>
                      <c:pt idx="14">
                        <c:v>389.10010735696017</c:v>
                      </c:pt>
                      <c:pt idx="15">
                        <c:v>466.76702831447079</c:v>
                      </c:pt>
                      <c:pt idx="16">
                        <c:v>467.67946035977184</c:v>
                      </c:pt>
                      <c:pt idx="17">
                        <c:v>414.75840173231023</c:v>
                      </c:pt>
                      <c:pt idx="18">
                        <c:v>353.81352442628338</c:v>
                      </c:pt>
                      <c:pt idx="19">
                        <c:v>405.78394934471146</c:v>
                      </c:pt>
                      <c:pt idx="20">
                        <c:v>439.61886905355658</c:v>
                      </c:pt>
                      <c:pt idx="21">
                        <c:v>442.42669133788888</c:v>
                      </c:pt>
                      <c:pt idx="22">
                        <c:v>502.5135005046954</c:v>
                      </c:pt>
                      <c:pt idx="23">
                        <c:v>565.43457926149506</c:v>
                      </c:pt>
                      <c:pt idx="24">
                        <c:v>998.31232396103997</c:v>
                      </c:pt>
                      <c:pt idx="25">
                        <c:v>1356.8202451421332</c:v>
                      </c:pt>
                      <c:pt idx="26">
                        <c:v>0</c:v>
                      </c:pt>
                      <c:pt idx="27">
                        <c:v>1745.714651232842</c:v>
                      </c:pt>
                      <c:pt idx="28">
                        <c:v>1011.2685651453633</c:v>
                      </c:pt>
                      <c:pt idx="29">
                        <c:v>1043.8163826453779</c:v>
                      </c:pt>
                      <c:pt idx="30">
                        <c:v>964.82268852054551</c:v>
                      </c:pt>
                      <c:pt idx="31">
                        <c:v>629.22254192606886</c:v>
                      </c:pt>
                      <c:pt idx="32">
                        <c:v>800.33073237305814</c:v>
                      </c:pt>
                      <c:pt idx="33">
                        <c:v>378.67105315801183</c:v>
                      </c:pt>
                      <c:pt idx="34">
                        <c:v>412.79689322912685</c:v>
                      </c:pt>
                      <c:pt idx="35">
                        <c:v>526.88910055549184</c:v>
                      </c:pt>
                      <c:pt idx="36">
                        <c:v>767.05708326212766</c:v>
                      </c:pt>
                      <c:pt idx="37">
                        <c:v>648.13971194740725</c:v>
                      </c:pt>
                      <c:pt idx="38">
                        <c:v>709.14189174903277</c:v>
                      </c:pt>
                      <c:pt idx="39">
                        <c:v>982.30876544667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8B95-4FAB-ADE2-F4AB2C1CD7F1}"/>
                  </c:ext>
                </c:extLst>
              </c15:ser>
            </c15:filteredLineSeries>
          </c:ext>
        </c:extLst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2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7 denní kumulativní počet případů na 100 tisíc osob </a:t>
                </a:r>
              </a:p>
            </c:rich>
          </c:tx>
          <c:layout>
            <c:manualLayout>
              <c:xMode val="edge"/>
              <c:yMode val="edge"/>
              <c:x val="6.4141414141414138E-3"/>
              <c:y val="0.226667013888888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620101010101013"/>
          <c:y val="0.16111979166666668"/>
          <c:w val="0.70125514621668827"/>
          <c:h val="9.5703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Vývoj podílu potvrzených případů z počtu provedených testů </a:t>
            </a: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301447811447812"/>
          <c:y val="0.27030243055555553"/>
          <c:w val="0.79486414141414141"/>
          <c:h val="0.4332725694444444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8E6-4C0D-9566-71D6E98BB5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0.0%</c:formatCode>
                <c:ptCount val="40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303215543877</c:v>
                </c:pt>
                <c:pt idx="29">
                  <c:v>0.18201497650018639</c:v>
                </c:pt>
                <c:pt idx="30">
                  <c:v>0.23258424343165041</c:v>
                </c:pt>
                <c:pt idx="31">
                  <c:v>0.23946110250835509</c:v>
                </c:pt>
                <c:pt idx="32">
                  <c:v>0.22860510028086384</c:v>
                </c:pt>
                <c:pt idx="33">
                  <c:v>0.20245925621938754</c:v>
                </c:pt>
                <c:pt idx="34">
                  <c:v>0.21163377290025667</c:v>
                </c:pt>
                <c:pt idx="35">
                  <c:v>0.21183964880213094</c:v>
                </c:pt>
                <c:pt idx="36">
                  <c:v>0.23592107915749985</c:v>
                </c:pt>
                <c:pt idx="37">
                  <c:v>0.26639871779065466</c:v>
                </c:pt>
                <c:pt idx="38">
                  <c:v>0.25831008411205258</c:v>
                </c:pt>
                <c:pt idx="39">
                  <c:v>0.2338136536214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35-49CD-8FF9-9A59E9E3ECB4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E6-4C0D-9566-71D6E98BB5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0.0%</c:formatCode>
                <c:ptCount val="40"/>
                <c:pt idx="0">
                  <c:v>5.9877127429687456E-3</c:v>
                </c:pt>
                <c:pt idx="1">
                  <c:v>9.0549769935789615E-3</c:v>
                </c:pt>
                <c:pt idx="2">
                  <c:v>1.4874993876251286E-2</c:v>
                </c:pt>
                <c:pt idx="3">
                  <c:v>2.1098694876174353E-2</c:v>
                </c:pt>
                <c:pt idx="4">
                  <c:v>2.6390103328490698E-2</c:v>
                </c:pt>
                <c:pt idx="5">
                  <c:v>3.4350560761970128E-2</c:v>
                </c:pt>
                <c:pt idx="6">
                  <c:v>5.5997499659520673E-2</c:v>
                </c:pt>
                <c:pt idx="7">
                  <c:v>7.1351887382240714E-2</c:v>
                </c:pt>
                <c:pt idx="8">
                  <c:v>7.6618176487630446E-2</c:v>
                </c:pt>
                <c:pt idx="9">
                  <c:v>7.8566075574703881E-2</c:v>
                </c:pt>
                <c:pt idx="10">
                  <c:v>7.0543204821838429E-2</c:v>
                </c:pt>
                <c:pt idx="11">
                  <c:v>6.22768139799924E-2</c:v>
                </c:pt>
                <c:pt idx="12">
                  <c:v>5.536775679457983E-2</c:v>
                </c:pt>
                <c:pt idx="13">
                  <c:v>5.8218246279424499E-2</c:v>
                </c:pt>
                <c:pt idx="14">
                  <c:v>6.0168219587863045E-2</c:v>
                </c:pt>
                <c:pt idx="15">
                  <c:v>7.5629649173968791E-2</c:v>
                </c:pt>
                <c:pt idx="16">
                  <c:v>0.10700188222051653</c:v>
                </c:pt>
                <c:pt idx="17">
                  <c:v>0.11714594450419151</c:v>
                </c:pt>
                <c:pt idx="18">
                  <c:v>0.1485271193558918</c:v>
                </c:pt>
                <c:pt idx="19">
                  <c:v>0.16559503390689187</c:v>
                </c:pt>
                <c:pt idx="20">
                  <c:v>0.18791215190644381</c:v>
                </c:pt>
                <c:pt idx="21">
                  <c:v>0.20651834965967375</c:v>
                </c:pt>
                <c:pt idx="22">
                  <c:v>0.19902584404380319</c:v>
                </c:pt>
                <c:pt idx="23">
                  <c:v>0.19408876380765239</c:v>
                </c:pt>
                <c:pt idx="24">
                  <c:v>0.17571966033291075</c:v>
                </c:pt>
                <c:pt idx="25">
                  <c:v>0.15574790831102037</c:v>
                </c:pt>
                <c:pt idx="26">
                  <c:v>0.21735866579763322</c:v>
                </c:pt>
                <c:pt idx="27">
                  <c:v>0.22544419767721735</c:v>
                </c:pt>
                <c:pt idx="28">
                  <c:v>0.23668168798447159</c:v>
                </c:pt>
                <c:pt idx="29">
                  <c:v>0.31526928938272075</c:v>
                </c:pt>
                <c:pt idx="30">
                  <c:v>0.43312322745099263</c:v>
                </c:pt>
                <c:pt idx="31">
                  <c:v>0.4922949585465563</c:v>
                </c:pt>
                <c:pt idx="32">
                  <c:v>0.52494660981351382</c:v>
                </c:pt>
                <c:pt idx="33">
                  <c:v>0.54699633395008496</c:v>
                </c:pt>
                <c:pt idx="34">
                  <c:v>0.54687835389889805</c:v>
                </c:pt>
                <c:pt idx="35">
                  <c:v>0.60050608449155329</c:v>
                </c:pt>
                <c:pt idx="36">
                  <c:v>0.60871754432232905</c:v>
                </c:pt>
                <c:pt idx="37">
                  <c:v>0.63278429876447018</c:v>
                </c:pt>
                <c:pt idx="38">
                  <c:v>0.68036649760843748</c:v>
                </c:pt>
                <c:pt idx="39">
                  <c:v>0.57904363636363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835-49CD-8FF9-9A59E9E3E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9867693557789119E-3</c:v>
                      </c:pt>
                      <c:pt idx="1">
                        <c:v>1.7590892914005282E-2</c:v>
                      </c:pt>
                      <c:pt idx="2">
                        <c:v>1.8972151244295528E-2</c:v>
                      </c:pt>
                      <c:pt idx="3">
                        <c:v>2.4622415215268364E-2</c:v>
                      </c:pt>
                      <c:pt idx="4">
                        <c:v>2.9400039085401602E-2</c:v>
                      </c:pt>
                      <c:pt idx="5">
                        <c:v>3.4785030105162061E-2</c:v>
                      </c:pt>
                      <c:pt idx="6">
                        <c:v>3.7961907307212252E-2</c:v>
                      </c:pt>
                      <c:pt idx="7">
                        <c:v>4.5126053436085833E-2</c:v>
                      </c:pt>
                      <c:pt idx="8">
                        <c:v>4.9234933224511432E-2</c:v>
                      </c:pt>
                      <c:pt idx="9">
                        <c:v>4.8767781581577324E-2</c:v>
                      </c:pt>
                      <c:pt idx="10">
                        <c:v>4.6002373668990189E-2</c:v>
                      </c:pt>
                      <c:pt idx="11">
                        <c:v>4.3773039436560086E-2</c:v>
                      </c:pt>
                      <c:pt idx="12">
                        <c:v>4.1042621530910532E-2</c:v>
                      </c:pt>
                      <c:pt idx="13">
                        <c:v>4.2871446830841944E-2</c:v>
                      </c:pt>
                      <c:pt idx="14">
                        <c:v>4.7695759737644554E-2</c:v>
                      </c:pt>
                      <c:pt idx="15">
                        <c:v>6.4971478569155944E-2</c:v>
                      </c:pt>
                      <c:pt idx="16">
                        <c:v>8.513971427111891E-2</c:v>
                      </c:pt>
                      <c:pt idx="17">
                        <c:v>9.2231106864128914E-2</c:v>
                      </c:pt>
                      <c:pt idx="18">
                        <c:v>0.11053915290717456</c:v>
                      </c:pt>
                      <c:pt idx="19">
                        <c:v>0.13001104449909845</c:v>
                      </c:pt>
                      <c:pt idx="20">
                        <c:v>0.14918011582909665</c:v>
                      </c:pt>
                      <c:pt idx="21">
                        <c:v>0.15018060024955671</c:v>
                      </c:pt>
                      <c:pt idx="22">
                        <c:v>0.15328191533145796</c:v>
                      </c:pt>
                      <c:pt idx="23">
                        <c:v>0.14208313349320545</c:v>
                      </c:pt>
                      <c:pt idx="24">
                        <c:v>0.11158259972570303</c:v>
                      </c:pt>
                      <c:pt idx="25">
                        <c:v>0.10078891676861121</c:v>
                      </c:pt>
                      <c:pt idx="26">
                        <c:v>0.16588295703197409</c:v>
                      </c:pt>
                      <c:pt idx="27">
                        <c:v>0.25716614769747642</c:v>
                      </c:pt>
                      <c:pt idx="28">
                        <c:v>0.32841639917862037</c:v>
                      </c:pt>
                      <c:pt idx="29">
                        <c:v>0.43336726319136193</c:v>
                      </c:pt>
                      <c:pt idx="30">
                        <c:v>0.41144656441757377</c:v>
                      </c:pt>
                      <c:pt idx="31">
                        <c:v>0.34894464551202148</c:v>
                      </c:pt>
                      <c:pt idx="32">
                        <c:v>0.27074293928181647</c:v>
                      </c:pt>
                      <c:pt idx="33">
                        <c:v>0.20855005696735524</c:v>
                      </c:pt>
                      <c:pt idx="34">
                        <c:v>0.1698831595833033</c:v>
                      </c:pt>
                      <c:pt idx="35">
                        <c:v>0.19520303445738488</c:v>
                      </c:pt>
                      <c:pt idx="36">
                        <c:v>0.23456511572573699</c:v>
                      </c:pt>
                      <c:pt idx="37">
                        <c:v>0.26768668084456576</c:v>
                      </c:pt>
                      <c:pt idx="38">
                        <c:v>0.29048348541699043</c:v>
                      </c:pt>
                      <c:pt idx="39">
                        <c:v>0.2568893609018397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C835-49CD-8FF9-9A59E9E3ECB4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7743639303792011E-3</c:v>
                      </c:pt>
                      <c:pt idx="1">
                        <c:v>1.2407202619028043E-2</c:v>
                      </c:pt>
                      <c:pt idx="2">
                        <c:v>2.3378893884813186E-2</c:v>
                      </c:pt>
                      <c:pt idx="3">
                        <c:v>4.2076159564349735E-2</c:v>
                      </c:pt>
                      <c:pt idx="4">
                        <c:v>4.2618263732455378E-2</c:v>
                      </c:pt>
                      <c:pt idx="5">
                        <c:v>4.3305743173333432E-2</c:v>
                      </c:pt>
                      <c:pt idx="6">
                        <c:v>3.5691828298066018E-2</c:v>
                      </c:pt>
                      <c:pt idx="7">
                        <c:v>3.1057260114972538E-2</c:v>
                      </c:pt>
                      <c:pt idx="8">
                        <c:v>2.8494347519878557E-2</c:v>
                      </c:pt>
                      <c:pt idx="9">
                        <c:v>2.4630632269883723E-2</c:v>
                      </c:pt>
                      <c:pt idx="10">
                        <c:v>1.9954781460228933E-2</c:v>
                      </c:pt>
                      <c:pt idx="11">
                        <c:v>1.4879269519677944E-2</c:v>
                      </c:pt>
                      <c:pt idx="12">
                        <c:v>1.2461365680182484E-2</c:v>
                      </c:pt>
                      <c:pt idx="13">
                        <c:v>1.0940178320000707E-2</c:v>
                      </c:pt>
                      <c:pt idx="14">
                        <c:v>1.0219963646944673E-2</c:v>
                      </c:pt>
                      <c:pt idx="15">
                        <c:v>1.1529827699139957E-2</c:v>
                      </c:pt>
                      <c:pt idx="16">
                        <c:v>1.7536007395283458E-2</c:v>
                      </c:pt>
                      <c:pt idx="17">
                        <c:v>2.1321999384926842E-2</c:v>
                      </c:pt>
                      <c:pt idx="18">
                        <c:v>2.9361010393789341E-2</c:v>
                      </c:pt>
                      <c:pt idx="19">
                        <c:v>3.610796744224707E-2</c:v>
                      </c:pt>
                      <c:pt idx="20">
                        <c:v>4.7830374559951212E-2</c:v>
                      </c:pt>
                      <c:pt idx="21">
                        <c:v>5.6620310421184351E-2</c:v>
                      </c:pt>
                      <c:pt idx="22">
                        <c:v>6.4567926298003023E-2</c:v>
                      </c:pt>
                      <c:pt idx="23">
                        <c:v>6.6628787641547255E-2</c:v>
                      </c:pt>
                      <c:pt idx="24">
                        <c:v>6.7942473851072646E-2</c:v>
                      </c:pt>
                      <c:pt idx="25">
                        <c:v>8.3196439462180929E-2</c:v>
                      </c:pt>
                      <c:pt idx="26">
                        <c:v>0.16929061897830538</c:v>
                      </c:pt>
                      <c:pt idx="27">
                        <c:v>0.20191556692272886</c:v>
                      </c:pt>
                      <c:pt idx="28">
                        <c:v>0.22901896117841777</c:v>
                      </c:pt>
                      <c:pt idx="29">
                        <c:v>0.31210067829523158</c:v>
                      </c:pt>
                      <c:pt idx="30">
                        <c:v>0.34234847520375028</c:v>
                      </c:pt>
                      <c:pt idx="31">
                        <c:v>0.33387090359491628</c:v>
                      </c:pt>
                      <c:pt idx="32">
                        <c:v>0.28941657268452214</c:v>
                      </c:pt>
                      <c:pt idx="33">
                        <c:v>0.24508426908678613</c:v>
                      </c:pt>
                      <c:pt idx="34">
                        <c:v>0.20915940943915942</c:v>
                      </c:pt>
                      <c:pt idx="35">
                        <c:v>0.20379597171118383</c:v>
                      </c:pt>
                      <c:pt idx="36">
                        <c:v>0.24874147539318547</c:v>
                      </c:pt>
                      <c:pt idx="37">
                        <c:v>0.26591151964925602</c:v>
                      </c:pt>
                      <c:pt idx="38">
                        <c:v>0.30261640076039831</c:v>
                      </c:pt>
                      <c:pt idx="39">
                        <c:v>0.309975299998055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C835-49CD-8FF9-9A59E9E3ECB4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3408098157885376E-3</c:v>
                      </c:pt>
                      <c:pt idx="1">
                        <c:v>6.8108593800141198E-3</c:v>
                      </c:pt>
                      <c:pt idx="2">
                        <c:v>1.2609648695592545E-2</c:v>
                      </c:pt>
                      <c:pt idx="3">
                        <c:v>2.0863076873790815E-2</c:v>
                      </c:pt>
                      <c:pt idx="4">
                        <c:v>2.5569832545335174E-2</c:v>
                      </c:pt>
                      <c:pt idx="5">
                        <c:v>2.8072768136666513E-2</c:v>
                      </c:pt>
                      <c:pt idx="6">
                        <c:v>3.0902234636871508E-2</c:v>
                      </c:pt>
                      <c:pt idx="7">
                        <c:v>3.146811833628007E-2</c:v>
                      </c:pt>
                      <c:pt idx="8">
                        <c:v>2.8257319762290012E-2</c:v>
                      </c:pt>
                      <c:pt idx="9">
                        <c:v>2.1661329421106046E-2</c:v>
                      </c:pt>
                      <c:pt idx="10">
                        <c:v>1.8084808770974535E-2</c:v>
                      </c:pt>
                      <c:pt idx="11">
                        <c:v>1.510077522533196E-2</c:v>
                      </c:pt>
                      <c:pt idx="12">
                        <c:v>1.2233858110901847E-2</c:v>
                      </c:pt>
                      <c:pt idx="13">
                        <c:v>1.0848527681976311E-2</c:v>
                      </c:pt>
                      <c:pt idx="14">
                        <c:v>9.4715377234737882E-3</c:v>
                      </c:pt>
                      <c:pt idx="15">
                        <c:v>7.3469162632053744E-3</c:v>
                      </c:pt>
                      <c:pt idx="16">
                        <c:v>7.0040055115261094E-3</c:v>
                      </c:pt>
                      <c:pt idx="17">
                        <c:v>9.6101339143124485E-3</c:v>
                      </c:pt>
                      <c:pt idx="18">
                        <c:v>1.1687742090966277E-2</c:v>
                      </c:pt>
                      <c:pt idx="19">
                        <c:v>1.5019348087411023E-2</c:v>
                      </c:pt>
                      <c:pt idx="20">
                        <c:v>1.7749101212906186E-2</c:v>
                      </c:pt>
                      <c:pt idx="21">
                        <c:v>2.1410194881521825E-2</c:v>
                      </c:pt>
                      <c:pt idx="22">
                        <c:v>2.5320089194404895E-2</c:v>
                      </c:pt>
                      <c:pt idx="23">
                        <c:v>3.1835448177544655E-2</c:v>
                      </c:pt>
                      <c:pt idx="24">
                        <c:v>3.7392561339494514E-2</c:v>
                      </c:pt>
                      <c:pt idx="25">
                        <c:v>5.1772223714052108E-2</c:v>
                      </c:pt>
                      <c:pt idx="26">
                        <c:v>0.1099416169886472</c:v>
                      </c:pt>
                      <c:pt idx="27">
                        <c:v>0.16770627660435258</c:v>
                      </c:pt>
                      <c:pt idx="28">
                        <c:v>0.16626931477156651</c:v>
                      </c:pt>
                      <c:pt idx="29">
                        <c:v>0.1642190960980853</c:v>
                      </c:pt>
                      <c:pt idx="30">
                        <c:v>0.14421071026949278</c:v>
                      </c:pt>
                      <c:pt idx="31">
                        <c:v>0.11559724632397134</c:v>
                      </c:pt>
                      <c:pt idx="32">
                        <c:v>0.10701716404592676</c:v>
                      </c:pt>
                      <c:pt idx="33">
                        <c:v>0.10565698458504329</c:v>
                      </c:pt>
                      <c:pt idx="34">
                        <c:v>9.8478015670474747E-2</c:v>
                      </c:pt>
                      <c:pt idx="35">
                        <c:v>9.8978368136378031E-2</c:v>
                      </c:pt>
                      <c:pt idx="36">
                        <c:v>0.12484475110360249</c:v>
                      </c:pt>
                      <c:pt idx="37">
                        <c:v>0.15499804085491697</c:v>
                      </c:pt>
                      <c:pt idx="38">
                        <c:v>0.15188249685427668</c:v>
                      </c:pt>
                      <c:pt idx="39">
                        <c:v>0.1484851393564384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C835-49CD-8FF9-9A59E9E3ECB4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6165145315286956E-3</c:v>
                      </c:pt>
                      <c:pt idx="1">
                        <c:v>5.932112645893565E-3</c:v>
                      </c:pt>
                      <c:pt idx="2">
                        <c:v>7.0108074292987033E-3</c:v>
                      </c:pt>
                      <c:pt idx="3">
                        <c:v>8.5268660553603562E-3</c:v>
                      </c:pt>
                      <c:pt idx="4">
                        <c:v>8.2225220016701999E-3</c:v>
                      </c:pt>
                      <c:pt idx="5">
                        <c:v>7.7855040313979775E-3</c:v>
                      </c:pt>
                      <c:pt idx="6">
                        <c:v>9.8493626882966388E-3</c:v>
                      </c:pt>
                      <c:pt idx="7">
                        <c:v>1.1483342639121534E-2</c:v>
                      </c:pt>
                      <c:pt idx="8">
                        <c:v>1.714011189114634E-2</c:v>
                      </c:pt>
                      <c:pt idx="9">
                        <c:v>2.0650760445524961E-2</c:v>
                      </c:pt>
                      <c:pt idx="10">
                        <c:v>2.344409250449437E-2</c:v>
                      </c:pt>
                      <c:pt idx="11">
                        <c:v>2.7386688359093091E-2</c:v>
                      </c:pt>
                      <c:pt idx="12">
                        <c:v>3.28770989135036E-2</c:v>
                      </c:pt>
                      <c:pt idx="13">
                        <c:v>4.4005792797945746E-2</c:v>
                      </c:pt>
                      <c:pt idx="14">
                        <c:v>5.0057914636011974E-2</c:v>
                      </c:pt>
                      <c:pt idx="15">
                        <c:v>6.8871645587227151E-2</c:v>
                      </c:pt>
                      <c:pt idx="16">
                        <c:v>0.11984589665911424</c:v>
                      </c:pt>
                      <c:pt idx="17">
                        <c:v>0.16136845697309521</c:v>
                      </c:pt>
                      <c:pt idx="18">
                        <c:v>0.20132975089940344</c:v>
                      </c:pt>
                      <c:pt idx="19">
                        <c:v>0.22405975279264989</c:v>
                      </c:pt>
                      <c:pt idx="20">
                        <c:v>0.23216177902514462</c:v>
                      </c:pt>
                      <c:pt idx="21">
                        <c:v>0.24564115866839603</c:v>
                      </c:pt>
                      <c:pt idx="22">
                        <c:v>0.25009453194357678</c:v>
                      </c:pt>
                      <c:pt idx="23">
                        <c:v>0.22101900279405715</c:v>
                      </c:pt>
                      <c:pt idx="24">
                        <c:v>0.18354848356468215</c:v>
                      </c:pt>
                      <c:pt idx="25">
                        <c:v>0.16831643768839721</c:v>
                      </c:pt>
                      <c:pt idx="26">
                        <c:v>0.19135301019947648</c:v>
                      </c:pt>
                      <c:pt idx="27">
                        <c:v>0.22770981837868495</c:v>
                      </c:pt>
                      <c:pt idx="28">
                        <c:v>0.2949646576188617</c:v>
                      </c:pt>
                      <c:pt idx="29">
                        <c:v>0.35231291153411221</c:v>
                      </c:pt>
                      <c:pt idx="30">
                        <c:v>0.39168989017060096</c:v>
                      </c:pt>
                      <c:pt idx="31">
                        <c:v>0.39053801475169325</c:v>
                      </c:pt>
                      <c:pt idx="32">
                        <c:v>0.3739528398421248</c:v>
                      </c:pt>
                      <c:pt idx="33">
                        <c:v>0.29039402488721699</c:v>
                      </c:pt>
                      <c:pt idx="34">
                        <c:v>0.22802537343973808</c:v>
                      </c:pt>
                      <c:pt idx="35">
                        <c:v>0.19537587021779396</c:v>
                      </c:pt>
                      <c:pt idx="36">
                        <c:v>0.16460851287440884</c:v>
                      </c:pt>
                      <c:pt idx="37">
                        <c:v>0.18144811372852207</c:v>
                      </c:pt>
                      <c:pt idx="38">
                        <c:v>0.20324030405592852</c:v>
                      </c:pt>
                      <c:pt idx="39">
                        <c:v>0.2082203553066334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835-49CD-8FF9-9A59E9E3ECB4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2664570792401693E-2</c:v>
                      </c:pt>
                      <c:pt idx="1">
                        <c:v>7.2727847548059665E-2</c:v>
                      </c:pt>
                      <c:pt idx="2">
                        <c:v>9.4513432296560729E-2</c:v>
                      </c:pt>
                      <c:pt idx="3">
                        <c:v>4.2831783230702129E-2</c:v>
                      </c:pt>
                      <c:pt idx="4">
                        <c:v>3.0733414462694352E-2</c:v>
                      </c:pt>
                      <c:pt idx="5">
                        <c:v>2.7825907177032018E-2</c:v>
                      </c:pt>
                      <c:pt idx="6">
                        <c:v>3.1658826627053833E-2</c:v>
                      </c:pt>
                      <c:pt idx="7">
                        <c:v>3.5897827627619984E-2</c:v>
                      </c:pt>
                      <c:pt idx="8">
                        <c:v>4.3226953019873879E-2</c:v>
                      </c:pt>
                      <c:pt idx="9">
                        <c:v>4.5557040469347422E-2</c:v>
                      </c:pt>
                      <c:pt idx="10">
                        <c:v>4.3039102347891683E-2</c:v>
                      </c:pt>
                      <c:pt idx="11">
                        <c:v>3.6923409141183784E-2</c:v>
                      </c:pt>
                      <c:pt idx="12">
                        <c:v>2.4035884092889627E-2</c:v>
                      </c:pt>
                      <c:pt idx="13">
                        <c:v>2.0344820293002074E-2</c:v>
                      </c:pt>
                      <c:pt idx="14">
                        <c:v>3.3619732134112158E-2</c:v>
                      </c:pt>
                      <c:pt idx="15">
                        <c:v>3.4936066849191406E-2</c:v>
                      </c:pt>
                      <c:pt idx="16">
                        <c:v>4.5092329940846172E-2</c:v>
                      </c:pt>
                      <c:pt idx="17">
                        <c:v>6.2254394775862025E-2</c:v>
                      </c:pt>
                      <c:pt idx="18">
                        <c:v>7.3599111462349279E-2</c:v>
                      </c:pt>
                      <c:pt idx="19">
                        <c:v>8.4868908162397103E-2</c:v>
                      </c:pt>
                      <c:pt idx="20">
                        <c:v>0.11660870469067507</c:v>
                      </c:pt>
                      <c:pt idx="21">
                        <c:v>0.11914617732365264</c:v>
                      </c:pt>
                      <c:pt idx="22">
                        <c:v>0.13478692212980434</c:v>
                      </c:pt>
                      <c:pt idx="23">
                        <c:v>0.13769468669025661</c:v>
                      </c:pt>
                      <c:pt idx="24">
                        <c:v>0.13154168453696677</c:v>
                      </c:pt>
                      <c:pt idx="25">
                        <c:v>0.14067017104493687</c:v>
                      </c:pt>
                      <c:pt idx="26">
                        <c:v>0.18941545568425053</c:v>
                      </c:pt>
                      <c:pt idx="27">
                        <c:v>0.25260632833807906</c:v>
                      </c:pt>
                      <c:pt idx="28">
                        <c:v>0.277643370617907</c:v>
                      </c:pt>
                      <c:pt idx="29">
                        <c:v>0.34742478594433246</c:v>
                      </c:pt>
                      <c:pt idx="30">
                        <c:v>0.39496951064092073</c:v>
                      </c:pt>
                      <c:pt idx="31">
                        <c:v>0.43659985403662632</c:v>
                      </c:pt>
                      <c:pt idx="32">
                        <c:v>0.40541792815693611</c:v>
                      </c:pt>
                      <c:pt idx="33">
                        <c:v>0.36555597627161429</c:v>
                      </c:pt>
                      <c:pt idx="34">
                        <c:v>0.3327030306244903</c:v>
                      </c:pt>
                      <c:pt idx="35">
                        <c:v>0.52813455097304551</c:v>
                      </c:pt>
                      <c:pt idx="36">
                        <c:v>0.4757271581594032</c:v>
                      </c:pt>
                      <c:pt idx="37">
                        <c:v>0.44892129178816653</c:v>
                      </c:pt>
                      <c:pt idx="38">
                        <c:v>0.60882658776605092</c:v>
                      </c:pt>
                      <c:pt idx="39">
                        <c:v>0.5670512379330954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835-49CD-8FF9-9A59E9E3ECB4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2.1344901189314447E-3</c:v>
                      </c:pt>
                      <c:pt idx="1">
                        <c:v>2.0111258354252631E-3</c:v>
                      </c:pt>
                      <c:pt idx="2">
                        <c:v>2.3433512530782099E-3</c:v>
                      </c:pt>
                      <c:pt idx="3">
                        <c:v>2.8143125717401832E-3</c:v>
                      </c:pt>
                      <c:pt idx="4">
                        <c:v>3.483765110247946E-3</c:v>
                      </c:pt>
                      <c:pt idx="5">
                        <c:v>3.8001043022869918E-3</c:v>
                      </c:pt>
                      <c:pt idx="6">
                        <c:v>4.7280722475605544E-3</c:v>
                      </c:pt>
                      <c:pt idx="7">
                        <c:v>5.0274835768869819E-3</c:v>
                      </c:pt>
                      <c:pt idx="8">
                        <c:v>6.2417235210754972E-3</c:v>
                      </c:pt>
                      <c:pt idx="9">
                        <c:v>8.9875520632396125E-3</c:v>
                      </c:pt>
                      <c:pt idx="10">
                        <c:v>1.2670956577321677E-2</c:v>
                      </c:pt>
                      <c:pt idx="11">
                        <c:v>1.6751379694115217E-2</c:v>
                      </c:pt>
                      <c:pt idx="12">
                        <c:v>2.0444139194139194E-2</c:v>
                      </c:pt>
                      <c:pt idx="13">
                        <c:v>2.9341924839187968E-2</c:v>
                      </c:pt>
                      <c:pt idx="14">
                        <c:v>4.6197617026627683E-2</c:v>
                      </c:pt>
                      <c:pt idx="15">
                        <c:v>6.6678390888034927E-2</c:v>
                      </c:pt>
                      <c:pt idx="16">
                        <c:v>0.11175634569997235</c:v>
                      </c:pt>
                      <c:pt idx="17">
                        <c:v>0.15054810327419588</c:v>
                      </c:pt>
                      <c:pt idx="18">
                        <c:v>0.19202110339815676</c:v>
                      </c:pt>
                      <c:pt idx="19">
                        <c:v>0.2228222939699312</c:v>
                      </c:pt>
                      <c:pt idx="20">
                        <c:v>0.24583406029879135</c:v>
                      </c:pt>
                      <c:pt idx="21">
                        <c:v>0.25382659606727159</c:v>
                      </c:pt>
                      <c:pt idx="22">
                        <c:v>0.24777299622639223</c:v>
                      </c:pt>
                      <c:pt idx="23">
                        <c:v>0.23529259911104902</c:v>
                      </c:pt>
                      <c:pt idx="24">
                        <c:v>0.20158611181963143</c:v>
                      </c:pt>
                      <c:pt idx="25">
                        <c:v>0.16609146146957882</c:v>
                      </c:pt>
                      <c:pt idx="26">
                        <c:v>0.14003577931714339</c:v>
                      </c:pt>
                      <c:pt idx="27">
                        <c:v>0.14660029373219902</c:v>
                      </c:pt>
                      <c:pt idx="28">
                        <c:v>0.16684218493385919</c:v>
                      </c:pt>
                      <c:pt idx="29">
                        <c:v>0.26552017005285683</c:v>
                      </c:pt>
                      <c:pt idx="30">
                        <c:v>0.30805804850105023</c:v>
                      </c:pt>
                      <c:pt idx="31">
                        <c:v>0.32726372532871495</c:v>
                      </c:pt>
                      <c:pt idx="32">
                        <c:v>0.27033280450631919</c:v>
                      </c:pt>
                      <c:pt idx="33">
                        <c:v>0.21960378876622533</c:v>
                      </c:pt>
                      <c:pt idx="34">
                        <c:v>0.18787704109747963</c:v>
                      </c:pt>
                      <c:pt idx="35">
                        <c:v>0.16463584687441044</c:v>
                      </c:pt>
                      <c:pt idx="36">
                        <c:v>0.16055372600283233</c:v>
                      </c:pt>
                      <c:pt idx="37">
                        <c:v>0.15324408579279702</c:v>
                      </c:pt>
                      <c:pt idx="38">
                        <c:v>0.12322238883498476</c:v>
                      </c:pt>
                      <c:pt idx="39">
                        <c:v>8.8551112839475546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835-49CD-8FF9-9A59E9E3ECB4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3166365240795764E-4</c:v>
                      </c:pt>
                      <c:pt idx="1">
                        <c:v>2.684131283243138E-4</c:v>
                      </c:pt>
                      <c:pt idx="2">
                        <c:v>6.4438783156001796E-4</c:v>
                      </c:pt>
                      <c:pt idx="3">
                        <c:v>9.0230684916086886E-4</c:v>
                      </c:pt>
                      <c:pt idx="4">
                        <c:v>1.0093815667241268E-3</c:v>
                      </c:pt>
                      <c:pt idx="5">
                        <c:v>1.3509894053988735E-3</c:v>
                      </c:pt>
                      <c:pt idx="6">
                        <c:v>2.2830970728304483E-3</c:v>
                      </c:pt>
                      <c:pt idx="7">
                        <c:v>2.9097161791043053E-3</c:v>
                      </c:pt>
                      <c:pt idx="8">
                        <c:v>3.4908972523427415E-3</c:v>
                      </c:pt>
                      <c:pt idx="9">
                        <c:v>3.9796939162708442E-3</c:v>
                      </c:pt>
                      <c:pt idx="10">
                        <c:v>4.2491950404701072E-3</c:v>
                      </c:pt>
                      <c:pt idx="11">
                        <c:v>4.6210056098766094E-3</c:v>
                      </c:pt>
                      <c:pt idx="12">
                        <c:v>3.7184898056857522E-3</c:v>
                      </c:pt>
                      <c:pt idx="13">
                        <c:v>4.1767487026011648E-3</c:v>
                      </c:pt>
                      <c:pt idx="14">
                        <c:v>3.4909589787743469E-3</c:v>
                      </c:pt>
                      <c:pt idx="15">
                        <c:v>4.2731511735725628E-3</c:v>
                      </c:pt>
                      <c:pt idx="16">
                        <c:v>6.4632300327374589E-3</c:v>
                      </c:pt>
                      <c:pt idx="17">
                        <c:v>1.1246294633142253E-2</c:v>
                      </c:pt>
                      <c:pt idx="18">
                        <c:v>1.1862362084110846E-2</c:v>
                      </c:pt>
                      <c:pt idx="19">
                        <c:v>1.8289901305118796E-2</c:v>
                      </c:pt>
                      <c:pt idx="20">
                        <c:v>1.6461207562456292E-2</c:v>
                      </c:pt>
                      <c:pt idx="21">
                        <c:v>1.0562943044960632E-2</c:v>
                      </c:pt>
                      <c:pt idx="22">
                        <c:v>8.4512810361085551E-3</c:v>
                      </c:pt>
                      <c:pt idx="23">
                        <c:v>5.7847750232577324E-3</c:v>
                      </c:pt>
                      <c:pt idx="24">
                        <c:v>3.1485708829886035E-3</c:v>
                      </c:pt>
                      <c:pt idx="25">
                        <c:v>3.068613133177894E-3</c:v>
                      </c:pt>
                      <c:pt idx="26">
                        <c:v>4.7753666062073158E-3</c:v>
                      </c:pt>
                      <c:pt idx="27">
                        <c:v>1.498984818703231E-2</c:v>
                      </c:pt>
                      <c:pt idx="28">
                        <c:v>1.394991405593265E-2</c:v>
                      </c:pt>
                      <c:pt idx="29">
                        <c:v>2.2645218323759143E-2</c:v>
                      </c:pt>
                      <c:pt idx="30">
                        <c:v>2.8674969143359069E-2</c:v>
                      </c:pt>
                      <c:pt idx="31">
                        <c:v>2.9196393432697258E-2</c:v>
                      </c:pt>
                      <c:pt idx="32">
                        <c:v>3.5410049846169148E-2</c:v>
                      </c:pt>
                      <c:pt idx="33">
                        <c:v>3.1546346213211063E-2</c:v>
                      </c:pt>
                      <c:pt idx="34">
                        <c:v>3.2523194977816541E-2</c:v>
                      </c:pt>
                      <c:pt idx="35">
                        <c:v>3.7523981540620595E-2</c:v>
                      </c:pt>
                      <c:pt idx="36">
                        <c:v>5.1193064417610859E-2</c:v>
                      </c:pt>
                      <c:pt idx="37">
                        <c:v>5.1458171594492765E-2</c:v>
                      </c:pt>
                      <c:pt idx="38">
                        <c:v>5.2791963881928999E-2</c:v>
                      </c:pt>
                      <c:pt idx="39">
                        <c:v>3.3134899838780034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C835-49CD-8FF9-9A59E9E3ECB4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0677334676159702E-3</c:v>
                      </c:pt>
                      <c:pt idx="1">
                        <c:v>2.4285447412665793E-3</c:v>
                      </c:pt>
                      <c:pt idx="2">
                        <c:v>2.2151018431707894E-3</c:v>
                      </c:pt>
                      <c:pt idx="3">
                        <c:v>3.1765375740442918E-3</c:v>
                      </c:pt>
                      <c:pt idx="4">
                        <c:v>4.1363613873633166E-3</c:v>
                      </c:pt>
                      <c:pt idx="5">
                        <c:v>4.4324937503938825E-3</c:v>
                      </c:pt>
                      <c:pt idx="6">
                        <c:v>5.7273653111229875E-3</c:v>
                      </c:pt>
                      <c:pt idx="7">
                        <c:v>5.9536372590403824E-3</c:v>
                      </c:pt>
                      <c:pt idx="8">
                        <c:v>7.3170949083357839E-3</c:v>
                      </c:pt>
                      <c:pt idx="9">
                        <c:v>1.1196375255355927E-2</c:v>
                      </c:pt>
                      <c:pt idx="10">
                        <c:v>1.7050535120214604E-2</c:v>
                      </c:pt>
                      <c:pt idx="11">
                        <c:v>2.8315500796283626E-2</c:v>
                      </c:pt>
                      <c:pt idx="12">
                        <c:v>2.9621302416296458E-2</c:v>
                      </c:pt>
                      <c:pt idx="13">
                        <c:v>3.8364537541376954E-2</c:v>
                      </c:pt>
                      <c:pt idx="14">
                        <c:v>4.5630007586937131E-2</c:v>
                      </c:pt>
                      <c:pt idx="15">
                        <c:v>5.5002372731586785E-2</c:v>
                      </c:pt>
                      <c:pt idx="16">
                        <c:v>8.3156289557254848E-2</c:v>
                      </c:pt>
                      <c:pt idx="17">
                        <c:v>0.1123544383475417</c:v>
                      </c:pt>
                      <c:pt idx="18">
                        <c:v>0.13808626432166271</c:v>
                      </c:pt>
                      <c:pt idx="19">
                        <c:v>0.13431291607010357</c:v>
                      </c:pt>
                      <c:pt idx="20">
                        <c:v>0.1500915177496267</c:v>
                      </c:pt>
                      <c:pt idx="21">
                        <c:v>0.13441968837073959</c:v>
                      </c:pt>
                      <c:pt idx="22">
                        <c:v>0.12895144785634807</c:v>
                      </c:pt>
                      <c:pt idx="23">
                        <c:v>0.11794603091433063</c:v>
                      </c:pt>
                      <c:pt idx="24">
                        <c:v>9.2125743798345039E-2</c:v>
                      </c:pt>
                      <c:pt idx="25">
                        <c:v>8.6784284013421364E-2</c:v>
                      </c:pt>
                      <c:pt idx="26">
                        <c:v>8.8836924397626721E-2</c:v>
                      </c:pt>
                      <c:pt idx="27">
                        <c:v>6.9600646508182373E-2</c:v>
                      </c:pt>
                      <c:pt idx="28">
                        <c:v>6.3353874207544431E-2</c:v>
                      </c:pt>
                      <c:pt idx="29">
                        <c:v>0.12973622229922999</c:v>
                      </c:pt>
                      <c:pt idx="30">
                        <c:v>0.2159361316289973</c:v>
                      </c:pt>
                      <c:pt idx="31">
                        <c:v>0.27208032476230926</c:v>
                      </c:pt>
                      <c:pt idx="32">
                        <c:v>0.30979857654136561</c:v>
                      </c:pt>
                      <c:pt idx="33">
                        <c:v>0.30674374178675495</c:v>
                      </c:pt>
                      <c:pt idx="34">
                        <c:v>0.29158460215735654</c:v>
                      </c:pt>
                      <c:pt idx="35">
                        <c:v>0.28276581560978181</c:v>
                      </c:pt>
                      <c:pt idx="36">
                        <c:v>0.30223524976597016</c:v>
                      </c:pt>
                      <c:pt idx="37">
                        <c:v>0.3152936796053244</c:v>
                      </c:pt>
                      <c:pt idx="38">
                        <c:v>0.29265262155865629</c:v>
                      </c:pt>
                      <c:pt idx="39">
                        <c:v>0.24956061085958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C835-49CD-8FF9-9A59E9E3ECB4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9.3768115253399731E-2</c:v>
                      </c:pt>
                      <c:pt idx="1">
                        <c:v>0.12834347376879807</c:v>
                      </c:pt>
                      <c:pt idx="2">
                        <c:v>0.14455208446718187</c:v>
                      </c:pt>
                      <c:pt idx="3">
                        <c:v>0.14611957582194521</c:v>
                      </c:pt>
                      <c:pt idx="4">
                        <c:v>0.13041778327379014</c:v>
                      </c:pt>
                      <c:pt idx="5">
                        <c:v>0.11555756267177318</c:v>
                      </c:pt>
                      <c:pt idx="6">
                        <c:v>0.10164894260631076</c:v>
                      </c:pt>
                      <c:pt idx="7">
                        <c:v>8.8058606364100137E-2</c:v>
                      </c:pt>
                      <c:pt idx="8">
                        <c:v>7.1315132931078065E-2</c:v>
                      </c:pt>
                      <c:pt idx="9">
                        <c:v>4.9587483125626455E-2</c:v>
                      </c:pt>
                      <c:pt idx="10">
                        <c:v>3.7510182443527842E-2</c:v>
                      </c:pt>
                      <c:pt idx="11">
                        <c:v>2.8376336440053839E-2</c:v>
                      </c:pt>
                      <c:pt idx="12">
                        <c:v>2.2598640772455818E-2</c:v>
                      </c:pt>
                      <c:pt idx="13">
                        <c:v>1.83899943424711E-2</c:v>
                      </c:pt>
                      <c:pt idx="14">
                        <c:v>1.8177069090042141E-2</c:v>
                      </c:pt>
                      <c:pt idx="15">
                        <c:v>1.9876029504678802E-2</c:v>
                      </c:pt>
                      <c:pt idx="16">
                        <c:v>2.1729916422051129E-2</c:v>
                      </c:pt>
                      <c:pt idx="17">
                        <c:v>2.3953986088817551E-2</c:v>
                      </c:pt>
                      <c:pt idx="18">
                        <c:v>2.9994337517590137E-2</c:v>
                      </c:pt>
                      <c:pt idx="19">
                        <c:v>3.9696952676938825E-2</c:v>
                      </c:pt>
                      <c:pt idx="20">
                        <c:v>5.3803926343344619E-2</c:v>
                      </c:pt>
                      <c:pt idx="21">
                        <c:v>6.6439559353406841E-2</c:v>
                      </c:pt>
                      <c:pt idx="22">
                        <c:v>8.1565176997800332E-2</c:v>
                      </c:pt>
                      <c:pt idx="23">
                        <c:v>0.11180011509277778</c:v>
                      </c:pt>
                      <c:pt idx="24">
                        <c:v>0.14395230304555751</c:v>
                      </c:pt>
                      <c:pt idx="25">
                        <c:v>0.21365425594433154</c:v>
                      </c:pt>
                      <c:pt idx="26">
                        <c:v>0.31220921044658068</c:v>
                      </c:pt>
                      <c:pt idx="27">
                        <c:v>0.39619530039293205</c:v>
                      </c:pt>
                      <c:pt idx="28">
                        <c:v>0.3868389217282675</c:v>
                      </c:pt>
                      <c:pt idx="29">
                        <c:v>0.37772895237088028</c:v>
                      </c:pt>
                      <c:pt idx="30">
                        <c:v>0.34810513396258325</c:v>
                      </c:pt>
                      <c:pt idx="31">
                        <c:v>0.28729705928841853</c:v>
                      </c:pt>
                      <c:pt idx="32">
                        <c:v>0.24300179810738184</c:v>
                      </c:pt>
                      <c:pt idx="33">
                        <c:v>0.19176234994636693</c:v>
                      </c:pt>
                      <c:pt idx="34">
                        <c:v>0.16411649296461028</c:v>
                      </c:pt>
                      <c:pt idx="35">
                        <c:v>0.16300954406518361</c:v>
                      </c:pt>
                      <c:pt idx="36">
                        <c:v>0.16094751250532022</c:v>
                      </c:pt>
                      <c:pt idx="37">
                        <c:v>0.17251561783477798</c:v>
                      </c:pt>
                      <c:pt idx="38">
                        <c:v>0.18301730210201164</c:v>
                      </c:pt>
                      <c:pt idx="39" formatCode="General">
                        <c:v>9.5908103837364991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C835-49CD-8FF9-9A59E9E3ECB4}"/>
                  </c:ext>
                </c:extLst>
              </c15:ser>
            </c15:filteredLineSeries>
          </c:ext>
        </c:extLst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2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i="0" baseline="0" dirty="0">
                    <a:solidFill>
                      <a:schemeClr val="tx1"/>
                    </a:solidFill>
                    <a:effectLst/>
                  </a:rPr>
                  <a:t>Podíl potvrzených případů z počtu provedených testů </a:t>
                </a:r>
                <a:r>
                  <a:rPr lang="cs-CZ" sz="1200" b="1" i="0" u="sng" baseline="0" dirty="0">
                    <a:solidFill>
                      <a:schemeClr val="tx1"/>
                    </a:solidFill>
                    <a:effectLst/>
                  </a:rPr>
                  <a:t>v daném týdnu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5802020202020203E-2"/>
              <c:y val="0.25707326388888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703316498316499"/>
          <c:y val="0.16039652777777777"/>
          <c:w val="0.70125514621668827"/>
          <c:h val="0.11334201388888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úmrtí</a:t>
            </a:r>
          </a:p>
          <a:p>
            <a:pPr>
              <a:defRPr sz="1300" b="1">
                <a:solidFill>
                  <a:schemeClr val="tx1"/>
                </a:solidFill>
              </a:defRPr>
            </a:pP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4308181818181817"/>
          <c:y val="0.27886527777777775"/>
          <c:w val="0.81467272727272744"/>
          <c:h val="0.424709722222222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D9-400B-9470-35A40D3E55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402382134403423</c:v>
                </c:pt>
                <c:pt idx="26">
                  <c:v>3.8339474350844904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961746088134598</c:v>
                </c:pt>
                <c:pt idx="30">
                  <c:v>1.5335789740337964</c:v>
                </c:pt>
                <c:pt idx="31">
                  <c:v>2.8614339393557415</c:v>
                </c:pt>
                <c:pt idx="32">
                  <c:v>3.6749788828980599</c:v>
                </c:pt>
                <c:pt idx="33">
                  <c:v>3.4318505089658728</c:v>
                </c:pt>
                <c:pt idx="34">
                  <c:v>3.2448286828641906</c:v>
                </c:pt>
                <c:pt idx="35">
                  <c:v>2.6276566567286386</c:v>
                </c:pt>
                <c:pt idx="36">
                  <c:v>1.9169737175422452</c:v>
                </c:pt>
                <c:pt idx="37">
                  <c:v>1.7299518914405627</c:v>
                </c:pt>
                <c:pt idx="38">
                  <c:v>1.7206008001354784</c:v>
                </c:pt>
                <c:pt idx="39">
                  <c:v>1.3091527827117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C48-45EF-814B-A31607E0E332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3.1155218855218856E-2"/>
                  <c:y val="3.8585069444444446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D9-400B-9470-35A40D3E55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0.1190380126971716</c:v>
                </c:pt>
                <c:pt idx="1">
                  <c:v>7.3346654288156232E-2</c:v>
                </c:pt>
                <c:pt idx="2">
                  <c:v>6.8537037613523033E-2</c:v>
                </c:pt>
                <c:pt idx="3">
                  <c:v>8.2965887637422617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2585120986689015E-2</c:v>
                </c:pt>
                <c:pt idx="7">
                  <c:v>0.15511013775692056</c:v>
                </c:pt>
                <c:pt idx="8">
                  <c:v>0.1947894753226444</c:v>
                </c:pt>
                <c:pt idx="9">
                  <c:v>0.32585152970639902</c:v>
                </c:pt>
                <c:pt idx="10">
                  <c:v>0.394388567319922</c:v>
                </c:pt>
                <c:pt idx="11">
                  <c:v>0.52424821753501838</c:v>
                </c:pt>
                <c:pt idx="12">
                  <c:v>0.49899772999319397</c:v>
                </c:pt>
                <c:pt idx="13">
                  <c:v>0.46893762577673653</c:v>
                </c:pt>
                <c:pt idx="14">
                  <c:v>0.48216407163197783</c:v>
                </c:pt>
                <c:pt idx="15">
                  <c:v>0.54709389673952591</c:v>
                </c:pt>
                <c:pt idx="16">
                  <c:v>0.72144250119497932</c:v>
                </c:pt>
                <c:pt idx="17">
                  <c:v>1.0244483516968705</c:v>
                </c:pt>
                <c:pt idx="18">
                  <c:v>1.4392777898839837</c:v>
                </c:pt>
                <c:pt idx="19">
                  <c:v>1.8961913739741372</c:v>
                </c:pt>
                <c:pt idx="20">
                  <c:v>2.3795578497747734</c:v>
                </c:pt>
                <c:pt idx="21">
                  <c:v>2.980759934103923</c:v>
                </c:pt>
                <c:pt idx="22">
                  <c:v>3.3931845639537195</c:v>
                </c:pt>
                <c:pt idx="23">
                  <c:v>3.1707397927519336</c:v>
                </c:pt>
                <c:pt idx="24">
                  <c:v>3.0024032091397723</c:v>
                </c:pt>
                <c:pt idx="25">
                  <c:v>2.4348684415330553</c:v>
                </c:pt>
                <c:pt idx="26">
                  <c:v>1.8829649281188958</c:v>
                </c:pt>
                <c:pt idx="27">
                  <c:v>1.4669330857631246</c:v>
                </c:pt>
                <c:pt idx="28">
                  <c:v>1.118235876852218</c:v>
                </c:pt>
                <c:pt idx="29">
                  <c:v>1.025650755865529</c:v>
                </c:pt>
                <c:pt idx="30">
                  <c:v>1.0376747975521119</c:v>
                </c:pt>
                <c:pt idx="31">
                  <c:v>1.2456907187299975</c:v>
                </c:pt>
                <c:pt idx="32">
                  <c:v>1.5090172316661652</c:v>
                </c:pt>
                <c:pt idx="33">
                  <c:v>1.7519028737351416</c:v>
                </c:pt>
                <c:pt idx="34">
                  <c:v>1.6557105402424774</c:v>
                </c:pt>
                <c:pt idx="35">
                  <c:v>1.6064119693274874</c:v>
                </c:pt>
                <c:pt idx="36">
                  <c:v>1.476552319112391</c:v>
                </c:pt>
                <c:pt idx="37">
                  <c:v>1.4633258732571497</c:v>
                </c:pt>
                <c:pt idx="38">
                  <c:v>1.3887768148003352</c:v>
                </c:pt>
                <c:pt idx="39">
                  <c:v>0.78036030545923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C48-45EF-814B-A31607E0E3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735743471000934</c:v>
                      </c:pt>
                      <c:pt idx="1">
                        <c:v>8.6787173550046698E-2</c:v>
                      </c:pt>
                      <c:pt idx="2">
                        <c:v>6.0751021485032683E-2</c:v>
                      </c:pt>
                      <c:pt idx="3">
                        <c:v>9.5465890905051351E-2</c:v>
                      </c:pt>
                      <c:pt idx="4">
                        <c:v>0.18225306445509803</c:v>
                      </c:pt>
                      <c:pt idx="5">
                        <c:v>0.19961049916510737</c:v>
                      </c:pt>
                      <c:pt idx="6">
                        <c:v>0.1909317818101027</c:v>
                      </c:pt>
                      <c:pt idx="7">
                        <c:v>0.35582741155519143</c:v>
                      </c:pt>
                      <c:pt idx="8">
                        <c:v>0.2777189553601494</c:v>
                      </c:pt>
                      <c:pt idx="9">
                        <c:v>0.34714869420018679</c:v>
                      </c:pt>
                      <c:pt idx="10">
                        <c:v>0.41657843304022413</c:v>
                      </c:pt>
                      <c:pt idx="11">
                        <c:v>0.3384699768451821</c:v>
                      </c:pt>
                      <c:pt idx="12">
                        <c:v>0.46865073717025213</c:v>
                      </c:pt>
                      <c:pt idx="13">
                        <c:v>0.48600817188026146</c:v>
                      </c:pt>
                      <c:pt idx="14">
                        <c:v>0.53808047601028952</c:v>
                      </c:pt>
                      <c:pt idx="15">
                        <c:v>0.78976327930542489</c:v>
                      </c:pt>
                      <c:pt idx="16">
                        <c:v>0.93730147434050426</c:v>
                      </c:pt>
                      <c:pt idx="17">
                        <c:v>1.2931288858956957</c:v>
                      </c:pt>
                      <c:pt idx="18">
                        <c:v>1.3278437553157143</c:v>
                      </c:pt>
                      <c:pt idx="19">
                        <c:v>1.7010286015809153</c:v>
                      </c:pt>
                      <c:pt idx="20">
                        <c:v>2.256466512301214</c:v>
                      </c:pt>
                      <c:pt idx="21">
                        <c:v>2.5775790544363866</c:v>
                      </c:pt>
                      <c:pt idx="22">
                        <c:v>3.0375510742516338</c:v>
                      </c:pt>
                      <c:pt idx="23">
                        <c:v>2.6904023800514474</c:v>
                      </c:pt>
                      <c:pt idx="24">
                        <c:v>2.1696793387511675</c:v>
                      </c:pt>
                      <c:pt idx="25">
                        <c:v>1.8919603833910179</c:v>
                      </c:pt>
                      <c:pt idx="26">
                        <c:v>1.3452011900257237</c:v>
                      </c:pt>
                      <c:pt idx="27">
                        <c:v>1.128233256150607</c:v>
                      </c:pt>
                      <c:pt idx="28">
                        <c:v>1.206341712345649</c:v>
                      </c:pt>
                      <c:pt idx="29">
                        <c:v>1.5274542544808216</c:v>
                      </c:pt>
                      <c:pt idx="30">
                        <c:v>2.0047837090060785</c:v>
                      </c:pt>
                      <c:pt idx="31">
                        <c:v>2.6122939238564054</c:v>
                      </c:pt>
                      <c:pt idx="32">
                        <c:v>2.7858682709564988</c:v>
                      </c:pt>
                      <c:pt idx="33">
                        <c:v>2.334574968496256</c:v>
                      </c:pt>
                      <c:pt idx="34">
                        <c:v>1.3972734941557516</c:v>
                      </c:pt>
                      <c:pt idx="35">
                        <c:v>1.0154099305355462</c:v>
                      </c:pt>
                      <c:pt idx="36">
                        <c:v>1.1976629949906443</c:v>
                      </c:pt>
                      <c:pt idx="37">
                        <c:v>1.1455906908606164</c:v>
                      </c:pt>
                      <c:pt idx="38">
                        <c:v>1.3538799073807284</c:v>
                      </c:pt>
                      <c:pt idx="39">
                        <c:v>1.275771451185686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EC48-45EF-814B-A31607E0E332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3104565202226921</c:v>
                      </c:pt>
                      <c:pt idx="1">
                        <c:v>0.24509725280738848</c:v>
                      </c:pt>
                      <c:pt idx="2">
                        <c:v>0.18419429907949197</c:v>
                      </c:pt>
                      <c:pt idx="3">
                        <c:v>0.21835937068294611</c:v>
                      </c:pt>
                      <c:pt idx="4">
                        <c:v>0.44266049294910165</c:v>
                      </c:pt>
                      <c:pt idx="5">
                        <c:v>0.53772851828045243</c:v>
                      </c:pt>
                      <c:pt idx="6">
                        <c:v>0.71895194156833953</c:v>
                      </c:pt>
                      <c:pt idx="7">
                        <c:v>1.2626222114320014</c:v>
                      </c:pt>
                      <c:pt idx="8">
                        <c:v>1.1363599902888013</c:v>
                      </c:pt>
                      <c:pt idx="9">
                        <c:v>1.0442628407490551</c:v>
                      </c:pt>
                      <c:pt idx="10">
                        <c:v>0.94028218804289032</c:v>
                      </c:pt>
                      <c:pt idx="11">
                        <c:v>0.7531170131717938</c:v>
                      </c:pt>
                      <c:pt idx="12">
                        <c:v>0.62536935413279127</c:v>
                      </c:pt>
                      <c:pt idx="13">
                        <c:v>0.51247607405181228</c:v>
                      </c:pt>
                      <c:pt idx="14">
                        <c:v>0.37581578763799567</c:v>
                      </c:pt>
                      <c:pt idx="15">
                        <c:v>0.3104565202226921</c:v>
                      </c:pt>
                      <c:pt idx="16">
                        <c:v>0.30302933074368033</c:v>
                      </c:pt>
                      <c:pt idx="17">
                        <c:v>0.31342739601429681</c:v>
                      </c:pt>
                      <c:pt idx="18">
                        <c:v>0.35947597078416976</c:v>
                      </c:pt>
                      <c:pt idx="19">
                        <c:v>0.38027210132540279</c:v>
                      </c:pt>
                      <c:pt idx="20">
                        <c:v>0.49613625719798643</c:v>
                      </c:pt>
                      <c:pt idx="21">
                        <c:v>0.70855387629772315</c:v>
                      </c:pt>
                      <c:pt idx="22">
                        <c:v>0.97741813543794931</c:v>
                      </c:pt>
                      <c:pt idx="23">
                        <c:v>1.4007679357416203</c:v>
                      </c:pt>
                      <c:pt idx="24">
                        <c:v>1.6102146790497522</c:v>
                      </c:pt>
                      <c:pt idx="25">
                        <c:v>1.7795545991712207</c:v>
                      </c:pt>
                      <c:pt idx="26">
                        <c:v>2.0424771067282372</c:v>
                      </c:pt>
                      <c:pt idx="27">
                        <c:v>2.3039141763894517</c:v>
                      </c:pt>
                      <c:pt idx="28">
                        <c:v>2.360360816429941</c:v>
                      </c:pt>
                      <c:pt idx="29">
                        <c:v>2.6396231408407842</c:v>
                      </c:pt>
                      <c:pt idx="30">
                        <c:v>3.0986234506437116</c:v>
                      </c:pt>
                      <c:pt idx="31">
                        <c:v>3.1624972801632132</c:v>
                      </c:pt>
                      <c:pt idx="32">
                        <c:v>3.1907206001834574</c:v>
                      </c:pt>
                      <c:pt idx="33">
                        <c:v>2.7569727346091701</c:v>
                      </c:pt>
                      <c:pt idx="34">
                        <c:v>2.1791373931420543</c:v>
                      </c:pt>
                      <c:pt idx="35">
                        <c:v>1.7290497107139406</c:v>
                      </c:pt>
                      <c:pt idx="36">
                        <c:v>1.2967872830354554</c:v>
                      </c:pt>
                      <c:pt idx="37">
                        <c:v>1.2477678324739778</c:v>
                      </c:pt>
                      <c:pt idx="38">
                        <c:v>1.1378454281846035</c:v>
                      </c:pt>
                      <c:pt idx="39">
                        <c:v>1.22251538824533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EC48-45EF-814B-A31607E0E332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9677327970086864</c:v>
                      </c:pt>
                      <c:pt idx="1">
                        <c:v>0.21126233470231326</c:v>
                      </c:pt>
                      <c:pt idx="2">
                        <c:v>0.15425503803660967</c:v>
                      </c:pt>
                      <c:pt idx="3">
                        <c:v>0.13748818607610863</c:v>
                      </c:pt>
                      <c:pt idx="4">
                        <c:v>0.19449548274181222</c:v>
                      </c:pt>
                      <c:pt idx="5">
                        <c:v>0.2598862053877663</c:v>
                      </c:pt>
                      <c:pt idx="6">
                        <c:v>0.35545726156262231</c:v>
                      </c:pt>
                      <c:pt idx="7">
                        <c:v>0.53486257753998356</c:v>
                      </c:pt>
                      <c:pt idx="8">
                        <c:v>0.57342633704913593</c:v>
                      </c:pt>
                      <c:pt idx="9">
                        <c:v>0.70756115273314446</c:v>
                      </c:pt>
                      <c:pt idx="10">
                        <c:v>0.67738081920424253</c:v>
                      </c:pt>
                      <c:pt idx="11">
                        <c:v>0.65558391165559116</c:v>
                      </c:pt>
                      <c:pt idx="12">
                        <c:v>0.64887717087139074</c:v>
                      </c:pt>
                      <c:pt idx="13">
                        <c:v>0.56001285548073509</c:v>
                      </c:pt>
                      <c:pt idx="14">
                        <c:v>0.45270500293352844</c:v>
                      </c:pt>
                      <c:pt idx="15">
                        <c:v>0.40240444705202522</c:v>
                      </c:pt>
                      <c:pt idx="16">
                        <c:v>0.47785528087427998</c:v>
                      </c:pt>
                      <c:pt idx="17">
                        <c:v>0.45941174371772886</c:v>
                      </c:pt>
                      <c:pt idx="18">
                        <c:v>0.47785528087427998</c:v>
                      </c:pt>
                      <c:pt idx="19">
                        <c:v>0.65390722645954102</c:v>
                      </c:pt>
                      <c:pt idx="20">
                        <c:v>0.67402744881214238</c:v>
                      </c:pt>
                      <c:pt idx="21">
                        <c:v>0.83331254243690223</c:v>
                      </c:pt>
                      <c:pt idx="22">
                        <c:v>0.87355298714210494</c:v>
                      </c:pt>
                      <c:pt idx="23">
                        <c:v>1.0663717846878669</c:v>
                      </c:pt>
                      <c:pt idx="24">
                        <c:v>1.3581150088005851</c:v>
                      </c:pt>
                      <c:pt idx="25">
                        <c:v>1.626384640168602</c:v>
                      </c:pt>
                      <c:pt idx="26">
                        <c:v>1.735369177911859</c:v>
                      </c:pt>
                      <c:pt idx="27">
                        <c:v>2.3339457929017464</c:v>
                      </c:pt>
                      <c:pt idx="28">
                        <c:v>3.4640316150395178</c:v>
                      </c:pt>
                      <c:pt idx="29">
                        <c:v>4.0559014892452048</c:v>
                      </c:pt>
                      <c:pt idx="30">
                        <c:v>4.4029753248275769</c:v>
                      </c:pt>
                      <c:pt idx="31">
                        <c:v>4.3962685840433755</c:v>
                      </c:pt>
                      <c:pt idx="32">
                        <c:v>3.7624815799364359</c:v>
                      </c:pt>
                      <c:pt idx="33">
                        <c:v>3.3097765770029079</c:v>
                      </c:pt>
                      <c:pt idx="34">
                        <c:v>2.6340724429947153</c:v>
                      </c:pt>
                      <c:pt idx="35">
                        <c:v>2.2249612551584899</c:v>
                      </c:pt>
                      <c:pt idx="36">
                        <c:v>1.6448281773251534</c:v>
                      </c:pt>
                      <c:pt idx="37">
                        <c:v>1.5375203247779465</c:v>
                      </c:pt>
                      <c:pt idx="38">
                        <c:v>1.6716551404619548</c:v>
                      </c:pt>
                      <c:pt idx="39">
                        <c:v>1.68003856644220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C48-45EF-814B-A31607E0E332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7.1651377968593361E-2</c:v>
                      </c:pt>
                      <c:pt idx="1">
                        <c:v>0.11259502252207527</c:v>
                      </c:pt>
                      <c:pt idx="2">
                        <c:v>7.1651377968593361E-2</c:v>
                      </c:pt>
                      <c:pt idx="3">
                        <c:v>2.0471822276740961E-2</c:v>
                      </c:pt>
                      <c:pt idx="4">
                        <c:v>5.1179555691852403E-2</c:v>
                      </c:pt>
                      <c:pt idx="5">
                        <c:v>7.1651377968593361E-2</c:v>
                      </c:pt>
                      <c:pt idx="6">
                        <c:v>4.0943644553481921E-2</c:v>
                      </c:pt>
                      <c:pt idx="7">
                        <c:v>0.13306684479881625</c:v>
                      </c:pt>
                      <c:pt idx="8">
                        <c:v>7.1651377968593361E-2</c:v>
                      </c:pt>
                      <c:pt idx="9">
                        <c:v>0.15353866707555719</c:v>
                      </c:pt>
                      <c:pt idx="10">
                        <c:v>0.32754915642785537</c:v>
                      </c:pt>
                      <c:pt idx="11">
                        <c:v>0.40943644553481923</c:v>
                      </c:pt>
                      <c:pt idx="12">
                        <c:v>0.46061600122667157</c:v>
                      </c:pt>
                      <c:pt idx="13">
                        <c:v>0.71651377968593355</c:v>
                      </c:pt>
                      <c:pt idx="14">
                        <c:v>0.65509831285571074</c:v>
                      </c:pt>
                      <c:pt idx="15">
                        <c:v>1.218073425466087</c:v>
                      </c:pt>
                      <c:pt idx="16">
                        <c:v>2.12906951678106</c:v>
                      </c:pt>
                      <c:pt idx="17">
                        <c:v>4.0124771662412284</c:v>
                      </c:pt>
                      <c:pt idx="18">
                        <c:v>6.6840499733559238</c:v>
                      </c:pt>
                      <c:pt idx="19">
                        <c:v>8.9564222460741689</c:v>
                      </c:pt>
                      <c:pt idx="20">
                        <c:v>10.225675227232109</c:v>
                      </c:pt>
                      <c:pt idx="21">
                        <c:v>12.713001633856134</c:v>
                      </c:pt>
                      <c:pt idx="22">
                        <c:v>13.644469547447848</c:v>
                      </c:pt>
                      <c:pt idx="23">
                        <c:v>12.569698877918951</c:v>
                      </c:pt>
                      <c:pt idx="24">
                        <c:v>10.297326605200702</c:v>
                      </c:pt>
                      <c:pt idx="25">
                        <c:v>8.6493449119230554</c:v>
                      </c:pt>
                      <c:pt idx="26">
                        <c:v>6.4076803726199199</c:v>
                      </c:pt>
                      <c:pt idx="27">
                        <c:v>5.1588992137387217</c:v>
                      </c:pt>
                      <c:pt idx="28">
                        <c:v>4.3400263226690834</c:v>
                      </c:pt>
                      <c:pt idx="29">
                        <c:v>3.8794103214424118</c:v>
                      </c:pt>
                      <c:pt idx="30">
                        <c:v>4.7596986793422724</c:v>
                      </c:pt>
                      <c:pt idx="31">
                        <c:v>6.2029621498525103</c:v>
                      </c:pt>
                      <c:pt idx="32">
                        <c:v>6.9194759295384447</c:v>
                      </c:pt>
                      <c:pt idx="33">
                        <c:v>6.6431063288024417</c:v>
                      </c:pt>
                      <c:pt idx="34">
                        <c:v>6.1415466830222885</c:v>
                      </c:pt>
                      <c:pt idx="35">
                        <c:v>4.6163959234050864</c:v>
                      </c:pt>
                      <c:pt idx="36">
                        <c:v>3.1833683640332193</c:v>
                      </c:pt>
                      <c:pt idx="37">
                        <c:v>2.7329882739449181</c:v>
                      </c:pt>
                      <c:pt idx="38">
                        <c:v>2.3133159172717286</c:v>
                      </c:pt>
                      <c:pt idx="39">
                        <c:v>1.944823116290391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C48-45EF-814B-A31607E0E332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6169333655415153E-2</c:v>
                      </c:pt>
                      <c:pt idx="1">
                        <c:v>5.7446222436943431E-2</c:v>
                      </c:pt>
                      <c:pt idx="2">
                        <c:v>5.7446222436943431E-2</c:v>
                      </c:pt>
                      <c:pt idx="3">
                        <c:v>0.13787093384866425</c:v>
                      </c:pt>
                      <c:pt idx="4">
                        <c:v>0.16659404506713596</c:v>
                      </c:pt>
                      <c:pt idx="5">
                        <c:v>0.22978488974777372</c:v>
                      </c:pt>
                      <c:pt idx="6">
                        <c:v>0.22978488974777372</c:v>
                      </c:pt>
                      <c:pt idx="7">
                        <c:v>0.25276337872255111</c:v>
                      </c:pt>
                      <c:pt idx="8">
                        <c:v>0.25276337872255111</c:v>
                      </c:pt>
                      <c:pt idx="9">
                        <c:v>0.23552951199146807</c:v>
                      </c:pt>
                      <c:pt idx="10">
                        <c:v>0.183827911798219</c:v>
                      </c:pt>
                      <c:pt idx="11">
                        <c:v>0.25850800096624543</c:v>
                      </c:pt>
                      <c:pt idx="12">
                        <c:v>0.20680640077299639</c:v>
                      </c:pt>
                      <c:pt idx="13">
                        <c:v>0.183827911798219</c:v>
                      </c:pt>
                      <c:pt idx="14">
                        <c:v>0.12638168936127556</c:v>
                      </c:pt>
                      <c:pt idx="15">
                        <c:v>0.25276337872255111</c:v>
                      </c:pt>
                      <c:pt idx="16">
                        <c:v>0.3791450680838267</c:v>
                      </c:pt>
                      <c:pt idx="17">
                        <c:v>0.55722835763835132</c:v>
                      </c:pt>
                      <c:pt idx="18">
                        <c:v>0.86169333655415159</c:v>
                      </c:pt>
                      <c:pt idx="19">
                        <c:v>0.97658578142803831</c:v>
                      </c:pt>
                      <c:pt idx="20">
                        <c:v>1.3442416050244763</c:v>
                      </c:pt>
                      <c:pt idx="21">
                        <c:v>2.0048731630493259</c:v>
                      </c:pt>
                      <c:pt idx="22">
                        <c:v>2.0048731630493259</c:v>
                      </c:pt>
                      <c:pt idx="23">
                        <c:v>2.5448676539565942</c:v>
                      </c:pt>
                      <c:pt idx="24">
                        <c:v>2.0335962742677975</c:v>
                      </c:pt>
                      <c:pt idx="25">
                        <c:v>1.4361555609235859</c:v>
                      </c:pt>
                      <c:pt idx="26">
                        <c:v>1.3959432052177254</c:v>
                      </c:pt>
                      <c:pt idx="27">
                        <c:v>0.70084391373070987</c:v>
                      </c:pt>
                      <c:pt idx="28">
                        <c:v>0.42510204603338148</c:v>
                      </c:pt>
                      <c:pt idx="29">
                        <c:v>0.30446497891580021</c:v>
                      </c:pt>
                      <c:pt idx="30">
                        <c:v>0.33893271237796624</c:v>
                      </c:pt>
                      <c:pt idx="31">
                        <c:v>0.34467733462166061</c:v>
                      </c:pt>
                      <c:pt idx="32">
                        <c:v>0.41361280154599278</c:v>
                      </c:pt>
                      <c:pt idx="33">
                        <c:v>0.49978213520140785</c:v>
                      </c:pt>
                      <c:pt idx="34">
                        <c:v>0.3791450680838267</c:v>
                      </c:pt>
                      <c:pt idx="35">
                        <c:v>0.33318809013427192</c:v>
                      </c:pt>
                      <c:pt idx="36">
                        <c:v>0.59169609110051746</c:v>
                      </c:pt>
                      <c:pt idx="37">
                        <c:v>0.49403751295771353</c:v>
                      </c:pt>
                      <c:pt idx="38">
                        <c:v>0.59744071334421178</c:v>
                      </c:pt>
                      <c:pt idx="39">
                        <c:v>0.6663761802685438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C48-45EF-814B-A31607E0E332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792550045526469</c:v>
                      </c:pt>
                      <c:pt idx="1">
                        <c:v>0.20812401282697271</c:v>
                      </c:pt>
                      <c:pt idx="2">
                        <c:v>0.1448964646263734</c:v>
                      </c:pt>
                      <c:pt idx="3">
                        <c:v>7.113099172567422E-2</c:v>
                      </c:pt>
                      <c:pt idx="4">
                        <c:v>5.795858585054936E-2</c:v>
                      </c:pt>
                      <c:pt idx="5">
                        <c:v>6.8496510550649245E-2</c:v>
                      </c:pt>
                      <c:pt idx="6">
                        <c:v>4.4786179975424507E-2</c:v>
                      </c:pt>
                      <c:pt idx="7">
                        <c:v>4.4786179975424507E-2</c:v>
                      </c:pt>
                      <c:pt idx="8">
                        <c:v>6.3227548200599309E-2</c:v>
                      </c:pt>
                      <c:pt idx="9">
                        <c:v>9.7475803475923925E-2</c:v>
                      </c:pt>
                      <c:pt idx="10">
                        <c:v>0.12118613405114867</c:v>
                      </c:pt>
                      <c:pt idx="11">
                        <c:v>0.16333783285154821</c:v>
                      </c:pt>
                      <c:pt idx="12">
                        <c:v>0.22129641870209754</c:v>
                      </c:pt>
                      <c:pt idx="13">
                        <c:v>0.32404118452807146</c:v>
                      </c:pt>
                      <c:pt idx="14">
                        <c:v>0.45839972445434496</c:v>
                      </c:pt>
                      <c:pt idx="15">
                        <c:v>0.64808236905614292</c:v>
                      </c:pt>
                      <c:pt idx="16">
                        <c:v>0.87464775010829032</c:v>
                      </c:pt>
                      <c:pt idx="17">
                        <c:v>1.4911163450641336</c:v>
                      </c:pt>
                      <c:pt idx="18">
                        <c:v>1.973226400093703</c:v>
                      </c:pt>
                      <c:pt idx="19">
                        <c:v>2.9453499536779173</c:v>
                      </c:pt>
                      <c:pt idx="20">
                        <c:v>5.1978313583242679</c:v>
                      </c:pt>
                      <c:pt idx="21">
                        <c:v>5.8643550956055854</c:v>
                      </c:pt>
                      <c:pt idx="22">
                        <c:v>6.9655682267660222</c:v>
                      </c:pt>
                      <c:pt idx="23">
                        <c:v>7.400257620645144</c:v>
                      </c:pt>
                      <c:pt idx="24">
                        <c:v>7.9192504121250629</c:v>
                      </c:pt>
                      <c:pt idx="25">
                        <c:v>7.4792920558958924</c:v>
                      </c:pt>
                      <c:pt idx="26">
                        <c:v>8.6042155176315553</c:v>
                      </c:pt>
                      <c:pt idx="27">
                        <c:v>5.6904793380539367</c:v>
                      </c:pt>
                      <c:pt idx="28">
                        <c:v>6.7548097327640244</c:v>
                      </c:pt>
                      <c:pt idx="29">
                        <c:v>4.0491975660133805</c:v>
                      </c:pt>
                      <c:pt idx="30">
                        <c:v>3.4696117075078865</c:v>
                      </c:pt>
                      <c:pt idx="31">
                        <c:v>3.7172529379602337</c:v>
                      </c:pt>
                      <c:pt idx="32">
                        <c:v>4.0307561977882056</c:v>
                      </c:pt>
                      <c:pt idx="33">
                        <c:v>4.4680800728423504</c:v>
                      </c:pt>
                      <c:pt idx="34">
                        <c:v>3.9543562437124811</c:v>
                      </c:pt>
                      <c:pt idx="35">
                        <c:v>3.2483152888057893</c:v>
                      </c:pt>
                      <c:pt idx="36">
                        <c:v>2.3552261704723243</c:v>
                      </c:pt>
                      <c:pt idx="37">
                        <c:v>2.0469918729944023</c:v>
                      </c:pt>
                      <c:pt idx="38">
                        <c:v>1.6017645544151824</c:v>
                      </c:pt>
                      <c:pt idx="39">
                        <c:v>1.36202676748791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C48-45EF-814B-A31607E0E332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2358073147210266</c:v>
                      </c:pt>
                      <c:pt idx="1">
                        <c:v>2.2469223904018665E-2</c:v>
                      </c:pt>
                      <c:pt idx="2">
                        <c:v>4.4938447808037331E-2</c:v>
                      </c:pt>
                      <c:pt idx="3">
                        <c:v>5.6173059760046662E-2</c:v>
                      </c:pt>
                      <c:pt idx="4">
                        <c:v>4.4938447808037331E-2</c:v>
                      </c:pt>
                      <c:pt idx="5">
                        <c:v>0.10111150756808399</c:v>
                      </c:pt>
                      <c:pt idx="6">
                        <c:v>0.10111150756808399</c:v>
                      </c:pt>
                      <c:pt idx="7">
                        <c:v>7.8642283664065324E-2</c:v>
                      </c:pt>
                      <c:pt idx="8">
                        <c:v>0.30333452270425199</c:v>
                      </c:pt>
                      <c:pt idx="9">
                        <c:v>0.42691525417635462</c:v>
                      </c:pt>
                      <c:pt idx="10">
                        <c:v>0.46061909003238261</c:v>
                      </c:pt>
                      <c:pt idx="11">
                        <c:v>0.75271900078462528</c:v>
                      </c:pt>
                      <c:pt idx="12">
                        <c:v>0.75271900078462528</c:v>
                      </c:pt>
                      <c:pt idx="13">
                        <c:v>0.69654594102457867</c:v>
                      </c:pt>
                      <c:pt idx="14">
                        <c:v>0.69654594102457867</c:v>
                      </c:pt>
                      <c:pt idx="15">
                        <c:v>0.89876895616074659</c:v>
                      </c:pt>
                      <c:pt idx="16">
                        <c:v>0.89876895616074659</c:v>
                      </c:pt>
                      <c:pt idx="17">
                        <c:v>1.1346958071529427</c:v>
                      </c:pt>
                      <c:pt idx="18">
                        <c:v>1.7863033003694837</c:v>
                      </c:pt>
                      <c:pt idx="19">
                        <c:v>3.2018644063226596</c:v>
                      </c:pt>
                      <c:pt idx="20">
                        <c:v>3.6849527202590608</c:v>
                      </c:pt>
                      <c:pt idx="21">
                        <c:v>4.4826101688517239</c:v>
                      </c:pt>
                      <c:pt idx="22">
                        <c:v>4.5163140047077519</c:v>
                      </c:pt>
                      <c:pt idx="23">
                        <c:v>3.7074219441630798</c:v>
                      </c:pt>
                      <c:pt idx="24">
                        <c:v>2.5502569131061184</c:v>
                      </c:pt>
                      <c:pt idx="25">
                        <c:v>1.4380303298571946</c:v>
                      </c:pt>
                      <c:pt idx="26">
                        <c:v>1.1908688669129892</c:v>
                      </c:pt>
                      <c:pt idx="27">
                        <c:v>0.94370740396878394</c:v>
                      </c:pt>
                      <c:pt idx="28">
                        <c:v>0.78642283664065327</c:v>
                      </c:pt>
                      <c:pt idx="29">
                        <c:v>0.87629973225672797</c:v>
                      </c:pt>
                      <c:pt idx="30">
                        <c:v>1.1571650310569614</c:v>
                      </c:pt>
                      <c:pt idx="31">
                        <c:v>1.4942033896172413</c:v>
                      </c:pt>
                      <c:pt idx="32">
                        <c:v>1.9435878676976146</c:v>
                      </c:pt>
                      <c:pt idx="33">
                        <c:v>2.123341658929764</c:v>
                      </c:pt>
                      <c:pt idx="34">
                        <c:v>2.3592685099219599</c:v>
                      </c:pt>
                      <c:pt idx="35">
                        <c:v>2.4266761816340159</c:v>
                      </c:pt>
                      <c:pt idx="36">
                        <c:v>2.089637823073736</c:v>
                      </c:pt>
                      <c:pt idx="37">
                        <c:v>2.5502569131061184</c:v>
                      </c:pt>
                      <c:pt idx="38">
                        <c:v>2.7075414804342492</c:v>
                      </c:pt>
                      <c:pt idx="39">
                        <c:v>2.370503121873968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EC48-45EF-814B-A31607E0E332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0.00000</c:formatCode>
                      <c:ptCount val="40"/>
                      <c:pt idx="0" formatCode="General">
                        <c:v>7.3288623608500969E-2</c:v>
                      </c:pt>
                      <c:pt idx="1">
                        <c:v>0.14657724721700194</c:v>
                      </c:pt>
                      <c:pt idx="2" formatCode="General">
                        <c:v>0.10993293541275144</c:v>
                      </c:pt>
                      <c:pt idx="3" formatCode="General">
                        <c:v>0.1282550913148767</c:v>
                      </c:pt>
                      <c:pt idx="4" formatCode="General">
                        <c:v>0.10993293541275144</c:v>
                      </c:pt>
                      <c:pt idx="5" formatCode="General">
                        <c:v>1.8322155902125242E-2</c:v>
                      </c:pt>
                      <c:pt idx="6" formatCode="General">
                        <c:v>5.496646770637572E-2</c:v>
                      </c:pt>
                      <c:pt idx="7" formatCode="General">
                        <c:v>5.496646770637572E-2</c:v>
                      </c:pt>
                      <c:pt idx="8" formatCode="General">
                        <c:v>1.8322155902125242E-2</c:v>
                      </c:pt>
                      <c:pt idx="9" formatCode="General">
                        <c:v>5.496646770637572E-2</c:v>
                      </c:pt>
                      <c:pt idx="10" formatCode="General">
                        <c:v>0.16489940311912718</c:v>
                      </c:pt>
                      <c:pt idx="11" formatCode="General">
                        <c:v>0.23818802672762815</c:v>
                      </c:pt>
                      <c:pt idx="12" formatCode="General">
                        <c:v>0.42140958574888054</c:v>
                      </c:pt>
                      <c:pt idx="13" formatCode="General">
                        <c:v>1.4657724721700194</c:v>
                      </c:pt>
                      <c:pt idx="14" formatCode="General">
                        <c:v>1.0810071982253893</c:v>
                      </c:pt>
                      <c:pt idx="15" formatCode="General">
                        <c:v>2.1803365523529039</c:v>
                      </c:pt>
                      <c:pt idx="16" formatCode="General">
                        <c:v>1.1542958218338903</c:v>
                      </c:pt>
                      <c:pt idx="17" formatCode="General">
                        <c:v>2.345235955472031</c:v>
                      </c:pt>
                      <c:pt idx="18" formatCode="General">
                        <c:v>4.1041629220760543</c:v>
                      </c:pt>
                      <c:pt idx="19" formatCode="General">
                        <c:v>6.0279892917992042</c:v>
                      </c:pt>
                      <c:pt idx="20" formatCode="General">
                        <c:v>5.8814120445822029</c:v>
                      </c:pt>
                      <c:pt idx="21" formatCode="General">
                        <c:v>7.7319497906968531</c:v>
                      </c:pt>
                      <c:pt idx="22" formatCode="General">
                        <c:v>10.242085149288009</c:v>
                      </c:pt>
                      <c:pt idx="23" formatCode="General">
                        <c:v>9.4359102895944993</c:v>
                      </c:pt>
                      <c:pt idx="24" formatCode="General">
                        <c:v>11.964367804087782</c:v>
                      </c:pt>
                      <c:pt idx="25" formatCode="General">
                        <c:v>6.9074527751012162</c:v>
                      </c:pt>
                      <c:pt idx="26" formatCode="General">
                        <c:v>5.4050359911269457</c:v>
                      </c:pt>
                      <c:pt idx="27" formatCode="General">
                        <c:v>4.5622168196291852</c:v>
                      </c:pt>
                      <c:pt idx="28" formatCode="General">
                        <c:v>6.6509425924714627</c:v>
                      </c:pt>
                      <c:pt idx="29" formatCode="General">
                        <c:v>5.9180563563864537</c:v>
                      </c:pt>
                      <c:pt idx="30" formatCode="General">
                        <c:v>2.8399341648294123</c:v>
                      </c:pt>
                      <c:pt idx="31" formatCode="General">
                        <c:v>2.6200682940039095</c:v>
                      </c:pt>
                      <c:pt idx="32" formatCode="General">
                        <c:v>2.4185245790805316</c:v>
                      </c:pt>
                      <c:pt idx="33" formatCode="General">
                        <c:v>2.6933569176124106</c:v>
                      </c:pt>
                      <c:pt idx="34" formatCode="General">
                        <c:v>4.2690623251951809</c:v>
                      </c:pt>
                      <c:pt idx="35" formatCode="General">
                        <c:v>4.0125521425654282</c:v>
                      </c:pt>
                      <c:pt idx="36" formatCode="General">
                        <c:v>4.5072503519228091</c:v>
                      </c:pt>
                      <c:pt idx="37" formatCode="General">
                        <c:v>3.352954530088919</c:v>
                      </c:pt>
                      <c:pt idx="38" formatCode="General">
                        <c:v>2.9132227884379134</c:v>
                      </c:pt>
                      <c:pt idx="39" formatCode="General">
                        <c:v>2.71167907351453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EC48-45EF-814B-A31607E0E332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880310265560233</c:v>
                      </c:pt>
                      <c:pt idx="1">
                        <c:v>0.18591831839247247</c:v>
                      </c:pt>
                      <c:pt idx="2">
                        <c:v>0.35704767964008921</c:v>
                      </c:pt>
                      <c:pt idx="3">
                        <c:v>0.80071639398576211</c:v>
                      </c:pt>
                      <c:pt idx="4">
                        <c:v>1.1767784470978087</c:v>
                      </c:pt>
                      <c:pt idx="5">
                        <c:v>1.4619940491771699</c:v>
                      </c:pt>
                      <c:pt idx="6">
                        <c:v>1.6838284063500064</c:v>
                      </c:pt>
                      <c:pt idx="7">
                        <c:v>1.5021355042846356</c:v>
                      </c:pt>
                      <c:pt idx="8">
                        <c:v>1.3394569756912222</c:v>
                      </c:pt>
                      <c:pt idx="9">
                        <c:v>1.138749700153894</c:v>
                      </c:pt>
                      <c:pt idx="10">
                        <c:v>0.88522472052779499</c:v>
                      </c:pt>
                      <c:pt idx="11">
                        <c:v>0.74367327356988988</c:v>
                      </c:pt>
                      <c:pt idx="12">
                        <c:v>0.49648641843444352</c:v>
                      </c:pt>
                      <c:pt idx="13">
                        <c:v>0.3760620531120466</c:v>
                      </c:pt>
                      <c:pt idx="14">
                        <c:v>0.30211726738776779</c:v>
                      </c:pt>
                      <c:pt idx="15">
                        <c:v>0.25775039595320048</c:v>
                      </c:pt>
                      <c:pt idx="16">
                        <c:v>0.24718685513544633</c:v>
                      </c:pt>
                      <c:pt idx="17">
                        <c:v>0.20704540002798072</c:v>
                      </c:pt>
                      <c:pt idx="18">
                        <c:v>0.20493269186442992</c:v>
                      </c:pt>
                      <c:pt idx="19">
                        <c:v>0.3316951816774793</c:v>
                      </c:pt>
                      <c:pt idx="20">
                        <c:v>0.31479351636907271</c:v>
                      </c:pt>
                      <c:pt idx="21">
                        <c:v>0.38451288576624992</c:v>
                      </c:pt>
                      <c:pt idx="22">
                        <c:v>0.5788820368129256</c:v>
                      </c:pt>
                      <c:pt idx="23">
                        <c:v>0.69930640213532258</c:v>
                      </c:pt>
                      <c:pt idx="24">
                        <c:v>0.99086012870533613</c:v>
                      </c:pt>
                      <c:pt idx="25">
                        <c:v>1.1641021981165038</c:v>
                      </c:pt>
                      <c:pt idx="26">
                        <c:v>1.4514305083594157</c:v>
                      </c:pt>
                      <c:pt idx="27">
                        <c:v>1.8929865145415379</c:v>
                      </c:pt>
                      <c:pt idx="28">
                        <c:v>2.6387724962749783</c:v>
                      </c:pt>
                      <c:pt idx="29">
                        <c:v>3.0824412106206514</c:v>
                      </c:pt>
                      <c:pt idx="30">
                        <c:v>3.4373761820971898</c:v>
                      </c:pt>
                      <c:pt idx="31">
                        <c:v>3.3592059800458096</c:v>
                      </c:pt>
                      <c:pt idx="32">
                        <c:v>2.7908874840506379</c:v>
                      </c:pt>
                      <c:pt idx="33">
                        <c:v>1.857070475761174</c:v>
                      </c:pt>
                      <c:pt idx="34">
                        <c:v>1.2887519797660023</c:v>
                      </c:pt>
                      <c:pt idx="35">
                        <c:v>1.0584667899389626</c:v>
                      </c:pt>
                      <c:pt idx="36">
                        <c:v>0.86621034705583755</c:v>
                      </c:pt>
                      <c:pt idx="37">
                        <c:v>0.60845995110263718</c:v>
                      </c:pt>
                      <c:pt idx="38">
                        <c:v>0.3338078898410301</c:v>
                      </c:pt>
                      <c:pt idx="39">
                        <c:v>1.9014373471957412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EC48-45EF-814B-A31607E0E332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B-EC48-45EF-814B-A31607E0E332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4831081426067519</c:v>
                      </c:pt>
                      <c:pt idx="1">
                        <c:v>0.37760875304729896</c:v>
                      </c:pt>
                      <c:pt idx="2">
                        <c:v>0.52306893418225076</c:v>
                      </c:pt>
                      <c:pt idx="3">
                        <c:v>0.73464737946945324</c:v>
                      </c:pt>
                      <c:pt idx="4">
                        <c:v>0.893331213434855</c:v>
                      </c:pt>
                      <c:pt idx="5">
                        <c:v>0.89039262391697738</c:v>
                      </c:pt>
                      <c:pt idx="6">
                        <c:v>0.95063370903347244</c:v>
                      </c:pt>
                      <c:pt idx="7">
                        <c:v>1.0960938901684243</c:v>
                      </c:pt>
                      <c:pt idx="8">
                        <c:v>1.2180453551603534</c:v>
                      </c:pt>
                      <c:pt idx="9">
                        <c:v>1.335588935875466</c:v>
                      </c:pt>
                      <c:pt idx="10">
                        <c:v>1.5104350121891958</c:v>
                      </c:pt>
                      <c:pt idx="11">
                        <c:v>1.4487246323137617</c:v>
                      </c:pt>
                      <c:pt idx="12">
                        <c:v>1.3150188092503212</c:v>
                      </c:pt>
                      <c:pt idx="13">
                        <c:v>1.1710279228743086</c:v>
                      </c:pt>
                      <c:pt idx="14">
                        <c:v>1.148988501490225</c:v>
                      </c:pt>
                      <c:pt idx="15">
                        <c:v>1.337058230634405</c:v>
                      </c:pt>
                      <c:pt idx="16">
                        <c:v>1.4972113593587457</c:v>
                      </c:pt>
                      <c:pt idx="17">
                        <c:v>1.7322985207889707</c:v>
                      </c:pt>
                      <c:pt idx="18">
                        <c:v>1.6867503832618647</c:v>
                      </c:pt>
                      <c:pt idx="19">
                        <c:v>1.4766412327336012</c:v>
                      </c:pt>
                      <c:pt idx="20">
                        <c:v>1.3914221367151445</c:v>
                      </c:pt>
                      <c:pt idx="21">
                        <c:v>1.2797557350357875</c:v>
                      </c:pt>
                      <c:pt idx="22">
                        <c:v>1.2283304184729258</c:v>
                      </c:pt>
                      <c:pt idx="23">
                        <c:v>1.1960059337762698</c:v>
                      </c:pt>
                      <c:pt idx="24">
                        <c:v>1.1519270910081025</c:v>
                      </c:pt>
                      <c:pt idx="25">
                        <c:v>1.2062909970888422</c:v>
                      </c:pt>
                      <c:pt idx="26">
                        <c:v>0</c:v>
                      </c:pt>
                      <c:pt idx="27">
                        <c:v>2.3640952671327007</c:v>
                      </c:pt>
                      <c:pt idx="28">
                        <c:v>2.8166380528858839</c:v>
                      </c:pt>
                      <c:pt idx="29">
                        <c:v>2.7152567145190991</c:v>
                      </c:pt>
                      <c:pt idx="30">
                        <c:v>1.7837238373518325</c:v>
                      </c:pt>
                      <c:pt idx="31">
                        <c:v>2.1657404746759479</c:v>
                      </c:pt>
                      <c:pt idx="32">
                        <c:v>1.8909823547543727</c:v>
                      </c:pt>
                      <c:pt idx="33">
                        <c:v>1.4340316847243728</c:v>
                      </c:pt>
                      <c:pt idx="34">
                        <c:v>1.1460499119723471</c:v>
                      </c:pt>
                      <c:pt idx="35">
                        <c:v>1.1548656805259805</c:v>
                      </c:pt>
                      <c:pt idx="36">
                        <c:v>1.3693827153310609</c:v>
                      </c:pt>
                      <c:pt idx="37">
                        <c:v>0.86247602349713814</c:v>
                      </c:pt>
                      <c:pt idx="38">
                        <c:v>1.1578042700438582</c:v>
                      </c:pt>
                      <c:pt idx="39">
                        <c:v>1.94828485035298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EC48-45EF-814B-A31607E0E332}"/>
                  </c:ext>
                </c:extLst>
              </c15:ser>
            </c15:filteredLineSeries>
          </c:ext>
        </c:extLst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2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7 denní kumulativní počet úmrtí na 100 tisíc osob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7288047138047141E-2"/>
              <c:y val="0.270045833333333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72676767676771"/>
          <c:y val="0.17362569444444445"/>
          <c:w val="0.70125514621668827"/>
          <c:h val="9.1293402777777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Srovnání podílů osob s vykázaným úplným očkováním a osob s vykázaným očkováním posilující dávkou k 6.4. 2022</a:t>
            </a:r>
            <a:endParaRPr lang="cs-CZ" sz="13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7620336700336697"/>
          <c:y val="3.08680555555555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429747474747476"/>
          <c:y val="0.19432152777777778"/>
          <c:w val="0.77783215488215485"/>
          <c:h val="0.5688368055555556"/>
        </c:manualLayout>
      </c:layout>
      <c:scatterChart>
        <c:scatterStyle val="lineMarker"/>
        <c:varyColors val="0"/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600000000000003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BDC7-4A4B-8526-DEF59504DBF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70299999999999996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BDC7-4A4B-8526-DEF59504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C$3</c15:sqref>
                        </c15:formulaRef>
                      </c:ext>
                    </c:extLst>
                    <c:strCache>
                      <c:ptCount val="1"/>
                      <c:pt idx="0">
                        <c:v>B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0070C0"/>
                    </a:solidFill>
                    <a:ln w="9525">
                      <a:solidFill>
                        <a:srgbClr val="0070C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6.565258394820952E-3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>
                      <c:ext uri="{02D57815-91ED-43cb-92C2-25804820EDAC}">
                        <c15:formulaRef>
                          <c15:sqref>List1!$B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List1!$A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9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BDC7-4A4B-8526-DEF59504DBFC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</c15:sqref>
                        </c15:formulaRef>
                      </c:ext>
                    </c:extLst>
                    <c:strCache>
                      <c:ptCount val="1"/>
                      <c:pt idx="0">
                        <c:v>A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0070C0"/>
                    </a:solidFill>
                    <a:ln w="9525">
                      <a:solidFill>
                        <a:srgbClr val="0070C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1688510738611633E-3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60000000000000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32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DC7-4A4B-8526-DEF59504DBFC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4</c15:sqref>
                        </c15:formulaRef>
                      </c:ext>
                    </c:extLst>
                    <c:strCache>
                      <c:ptCount val="1"/>
                      <c:pt idx="0">
                        <c:v>BG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47606396832839E-2"/>
                        <c:y val="2.333186360964096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2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51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DC7-4A4B-8526-DEF59504DBFC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5</c15:sqref>
                        </c15:formulaRef>
                      </c:ext>
                    </c:extLst>
                    <c:strCache>
                      <c:ptCount val="1"/>
                      <c:pt idx="0">
                        <c:v>H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127526924636813E-2"/>
                        <c:y val="4.6663727219282778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26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6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BDC7-4A4B-8526-DEF59504DBFC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6</c15:sqref>
                        </c15:formulaRef>
                      </c:ext>
                    </c:extLst>
                    <c:strCache>
                      <c:ptCount val="1"/>
                      <c:pt idx="0">
                        <c:v>CY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5096810823816598E-2"/>
                        <c:y val="-1.8665490887713111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8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DC7-4A4B-8526-DEF59504DBFC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8</c15:sqref>
                        </c15:formulaRef>
                      </c:ext>
                    </c:extLst>
                    <c:strCache>
                      <c:ptCount val="1"/>
                      <c:pt idx="0">
                        <c:v>DK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023962857688971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4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3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BDC7-4A4B-8526-DEF59504DBFC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9</c15:sqref>
                        </c15:formulaRef>
                      </c:ext>
                    </c:extLst>
                    <c:strCache>
                      <c:ptCount val="1"/>
                      <c:pt idx="0">
                        <c:v>E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196545869262337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119999999999999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0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DC7-4A4B-8526-DEF59504DBFC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0</c15:sqref>
                        </c15:formulaRef>
                      </c:ext>
                    </c:extLst>
                    <c:strCache>
                      <c:ptCount val="1"/>
                      <c:pt idx="0">
                        <c:v>F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758208085816809E-2"/>
                        <c:y val="-4.666372721928277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42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70000000000000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BDC7-4A4B-8526-DEF59504DBFC}"/>
                  </c:ext>
                </c:extLst>
              </c15:ser>
            </c15:filteredScatterSeries>
            <c15:filteredScatte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1</c15:sqref>
                        </c15:formulaRef>
                      </c:ext>
                    </c:extLst>
                    <c:strCache>
                      <c:ptCount val="1"/>
                      <c:pt idx="0">
                        <c:v>F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</a:schemeClr>
                    </a:solidFill>
                    <a:ln w="9525">
                      <a:solidFill>
                        <a:schemeClr val="accent4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051377057258783E-3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5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BDC7-4A4B-8526-DEF59504DBFC}"/>
                  </c:ext>
                </c:extLst>
              </c15:ser>
            </c15:filteredScatterSeries>
            <c15:filteredScatte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3</c15:sqref>
                        </c15:formulaRef>
                      </c:ext>
                    </c:extLst>
                    <c:strCache>
                      <c:ptCount val="1"/>
                      <c:pt idx="0">
                        <c:v>E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60000"/>
                      </a:schemeClr>
                    </a:solidFill>
                    <a:ln w="9525">
                      <a:solidFill>
                        <a:schemeClr val="accent6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3195552404790468E-2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8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17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7-BDC7-4A4B-8526-DEF59504DBFC}"/>
                  </c:ext>
                </c:extLst>
              </c15:ser>
            </c15:filteredScatterSeries>
            <c15:filteredScatte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4</c15:sqref>
                        </c15:formulaRef>
                      </c:ext>
                    </c:extLst>
                    <c:strCache>
                      <c:ptCount val="1"/>
                      <c:pt idx="0">
                        <c:v>HU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3387377081463958E-2"/>
                        <c:y val="-4.2774589148638603E-17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67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9-BDC7-4A4B-8526-DEF59504DBFC}"/>
                  </c:ext>
                </c:extLst>
              </c15:ser>
            </c15:filteredScatterSeries>
            <c15:filteredScatte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5</c15:sqref>
                        </c15:formulaRef>
                      </c:ext>
                    </c:extLst>
                    <c:strCache>
                      <c:ptCount val="1"/>
                      <c:pt idx="0">
                        <c:v>I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863250904636667E-3"/>
                        <c:y val="0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4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B-BDC7-4A4B-8526-DEF59504DBFC}"/>
                  </c:ext>
                </c:extLst>
              </c15:ser>
            </c15:filteredScatterSeries>
            <c15:filteredScatte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6</c15:sqref>
                        </c15:formulaRef>
                      </c:ext>
                    </c:extLst>
                    <c:strCache>
                      <c:ptCount val="1"/>
                      <c:pt idx="0">
                        <c:v>I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255382592350299E-2"/>
                        <c:y val="-2.333186360964138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6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D-BDC7-4A4B-8526-DEF59504DBFC}"/>
                  </c:ext>
                </c:extLst>
              </c15:ser>
            </c15:filteredScatterSeries>
            <c15:filteredScatte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7</c15:sqref>
                        </c15:formulaRef>
                      </c:ext>
                    </c:extLst>
                    <c:strCache>
                      <c:ptCount val="1"/>
                      <c:pt idx="0">
                        <c:v>I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0286409019268361E-2"/>
                        <c:y val="1.3334251910640778E-2"/>
                      </c:manualLayout>
                    </c:layout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4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7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F-BDC7-4A4B-8526-DEF59504DBFC}"/>
                  </c:ext>
                </c:extLst>
              </c15:ser>
            </c15:filteredScatterSeries>
            <c15:filteredScatte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8</c15:sqref>
                        </c15:formulaRef>
                      </c:ext>
                    </c:extLst>
                    <c:strCache>
                      <c:ptCount val="1"/>
                      <c:pt idx="0">
                        <c:v>LV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6253773343027682E-2"/>
                        <c:y val="1.6332304526748928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33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1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1-BDC7-4A4B-8526-DEF59504DBFC}"/>
                  </c:ext>
                </c:extLst>
              </c15:ser>
            </c15:filteredScatterSeries>
            <c15:filteredScatterSeries>
              <c15:ser>
                <c:idx val="2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9</c15:sqref>
                        </c15:formulaRef>
                      </c:ext>
                    </c:extLst>
                    <c:strCache>
                      <c:ptCount val="1"/>
                      <c:pt idx="0">
                        <c:v>LI</c:v>
                      </c:pt>
                    </c:strCache>
                  </c:strRef>
                </c:tx>
                <c:spPr>
                  <a:ln w="25400" cap="rnd">
                    <a:solidFill>
                      <a:schemeClr val="accent1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75000"/>
                      </a:schemeClr>
                    </a:solidFill>
                    <a:ln w="9525">
                      <a:solidFill>
                        <a:schemeClr val="accent1">
                          <a:lumMod val="75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9.7388985409937612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620000000000000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7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3-BDC7-4A4B-8526-DEF59504DBFC}"/>
                  </c:ext>
                </c:extLst>
              </c15:ser>
            </c15:filteredScatterSeries>
            <c15:filteredScatterSeries>
              <c15:ser>
                <c:idx val="17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0</c15:sqref>
                        </c15:formulaRef>
                      </c:ext>
                    </c:extLst>
                    <c:strCache>
                      <c:ptCount val="1"/>
                      <c:pt idx="0">
                        <c:v>L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431493902467101E-2"/>
                        <c:y val="-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83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1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5-BDC7-4A4B-8526-DEF59504DBFC}"/>
                  </c:ext>
                </c:extLst>
              </c15:ser>
            </c15:filteredScatterSeries>
            <c15:filteredScatterSeries>
              <c15:ser>
                <c:idx val="18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1</c15:sqref>
                        </c15:formulaRef>
                      </c:ext>
                    </c:extLst>
                    <c:strCache>
                      <c:ptCount val="1"/>
                      <c:pt idx="0">
                        <c:v>LU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80000"/>
                      </a:schemeClr>
                    </a:solidFill>
                    <a:ln w="9525">
                      <a:solidFill>
                        <a:schemeClr val="accent1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6428891188672612E-2"/>
                        <c:y val="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1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30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7-BDC7-4A4B-8526-DEF59504DBFC}"/>
                  </c:ext>
                </c:extLst>
              </c15:ser>
            </c15:filteredScatterSeries>
            <c15:filteredScatterSeries>
              <c15:ser>
                <c:idx val="19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2</c15:sqref>
                        </c15:formulaRef>
                      </c:ext>
                    </c:extLst>
                    <c:strCache>
                      <c:ptCount val="1"/>
                      <c:pt idx="0">
                        <c:v>M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</a:schemeClr>
                    </a:solidFill>
                    <a:ln w="9525">
                      <a:solidFill>
                        <a:schemeClr val="accent2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9332452914033097E-3"/>
                        <c:y val="-2.9980526161081824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7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9-BDC7-4A4B-8526-DEF59504DBFC}"/>
                  </c:ext>
                </c:extLst>
              </c15:ser>
            </c15:filteredScatterSeries>
            <c15:filteredScatterSeries>
              <c15:ser>
                <c:idx val="20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3</c15:sqref>
                        </c15:formulaRef>
                      </c:ext>
                    </c:extLst>
                    <c:strCache>
                      <c:ptCount val="1"/>
                      <c:pt idx="0">
                        <c:v>N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</a:schemeClr>
                    </a:solidFill>
                    <a:ln w="9525">
                      <a:solidFill>
                        <a:schemeClr val="accent3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691117662001338E-2"/>
                        <c:y val="3.7330981775426222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4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26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B-BDC7-4A4B-8526-DEF59504DBFC}"/>
                  </c:ext>
                </c:extLst>
              </c15:ser>
            </c15:filteredScatterSeries>
            <c15:filteredScatterSeries>
              <c15:ser>
                <c:idx val="21"/>
                <c:order val="2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4</c15:sqref>
                        </c15:formulaRef>
                      </c:ext>
                    </c:extLst>
                    <c:strCache>
                      <c:ptCount val="1"/>
                      <c:pt idx="0">
                        <c:v>N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</a:schemeClr>
                    </a:solidFill>
                    <a:ln w="9525">
                      <a:solidFill>
                        <a:schemeClr val="accent4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14019885864715E-2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860000000000000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18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D-BDC7-4A4B-8526-DEF59504DBFC}"/>
                  </c:ext>
                </c:extLst>
              </c15:ser>
            </c15:filteredScatterSeries>
            <c15:filteredScatterSeries>
              <c15:ser>
                <c:idx val="22"/>
                <c:order val="2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5</c15:sqref>
                        </c15:formulaRef>
                      </c:ext>
                    </c:extLst>
                    <c:strCache>
                      <c:ptCount val="1"/>
                      <c:pt idx="0">
                        <c:v>P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>
                        <a:lumMod val="80000"/>
                      </a:schemeClr>
                    </a:solidFill>
                    <a:ln w="25400">
                      <a:noFill/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4923175544988E-2"/>
                        <c:y val="-4.6663727219283203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7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62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F-BDC7-4A4B-8526-DEF59504DBFC}"/>
                  </c:ext>
                </c:extLst>
              </c15:ser>
            </c15:filteredScatterSeries>
            <c15:filteredScatterSeries>
              <c15:ser>
                <c:idx val="23"/>
                <c:order val="2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6</c15:sqref>
                        </c15:formulaRef>
                      </c:ext>
                    </c:extLst>
                    <c:strCache>
                      <c:ptCount val="1"/>
                      <c:pt idx="0">
                        <c:v>P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</a:schemeClr>
                    </a:solidFill>
                    <a:ln w="9525">
                      <a:solidFill>
                        <a:schemeClr val="accent6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593084740072622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6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3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1-BDC7-4A4B-8526-DEF59504DBFC}"/>
                  </c:ext>
                </c:extLst>
              </c15:ser>
            </c15:filteredScatterSeries>
            <c15:filteredScatterSeries>
              <c15:ser>
                <c:idx val="24"/>
                <c:order val="2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7</c15:sqref>
                        </c15:formulaRef>
                      </c:ext>
                    </c:extLst>
                    <c:strCache>
                      <c:ptCount val="1"/>
                      <c:pt idx="0">
                        <c:v>R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15465958222639E-2"/>
                        <c:y val="-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0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3-BDC7-4A4B-8526-DEF59504DBFC}"/>
                  </c:ext>
                </c:extLst>
              </c15:ser>
            </c15:filteredScatterSeries>
            <c15:filteredScatterSeries>
              <c15:ser>
                <c:idx val="25"/>
                <c:order val="2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8</c15:sqref>
                        </c15:formulaRef>
                      </c:ext>
                    </c:extLst>
                    <c:strCache>
                      <c:ptCount val="1"/>
                      <c:pt idx="0">
                        <c:v>SK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676881994916709E-2"/>
                        <c:y val="-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67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98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5-BDC7-4A4B-8526-DEF59504DBFC}"/>
                  </c:ext>
                </c:extLst>
              </c15:ser>
            </c15:filteredScatterSeries>
            <c15:filteredScatterSeries>
              <c15:ser>
                <c:idx val="26"/>
                <c:order val="2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9</c15:sqref>
                        </c15:formulaRef>
                      </c:ext>
                    </c:extLst>
                    <c:strCache>
                      <c:ptCount val="1"/>
                      <c:pt idx="0">
                        <c:v>S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4916619100433179E-2"/>
                        <c:y val="-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68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70000000000000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7-BDC7-4A4B-8526-DEF59504DBFC}"/>
                  </c:ext>
                </c:extLst>
              </c15:ser>
            </c15:filteredScatterSeries>
            <c15:filteredScatterSeries>
              <c15:ser>
                <c:idx val="27"/>
                <c:order val="2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0</c15:sqref>
                        </c15:formulaRef>
                      </c:ext>
                    </c:extLst>
                    <c:strCache>
                      <c:ptCount val="1"/>
                      <c:pt idx="0">
                        <c:v>E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0053402661858606E-2"/>
                        <c:y val="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2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1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9-BDC7-4A4B-8526-DEF59504DBFC}"/>
                  </c:ext>
                </c:extLst>
              </c15:ser>
            </c15:filteredScatterSeries>
            <c15:filteredScatterSeries>
              <c15:ser>
                <c:idx val="30"/>
                <c:order val="2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1</c15:sqref>
                        </c15:formulaRef>
                      </c:ext>
                    </c:extLst>
                    <c:strCache>
                      <c:ptCount val="1"/>
                      <c:pt idx="0">
                        <c:v>S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50000"/>
                      </a:schemeClr>
                    </a:solidFill>
                    <a:ln w="9525">
                      <a:solidFill>
                        <a:schemeClr val="accent1">
                          <a:lumMod val="5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137166371490727E-2"/>
                        <c:y val="-2.566504997060552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7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B-BDC7-4A4B-8526-DEF59504DBFC}"/>
                  </c:ext>
                </c:extLst>
              </c15:ser>
            </c15:filteredScatterSeries>
          </c:ext>
        </c:extLst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očkováním posilující dávkou z 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úplným očkováním z 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5.5267676767676768E-3"/>
              <c:y val="0.18109236111111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potvrzených případů</a:t>
            </a:r>
          </a:p>
          <a:p>
            <a:pPr>
              <a:defRPr sz="1300" b="1">
                <a:solidFill>
                  <a:schemeClr val="tx1"/>
                </a:solidFill>
              </a:defRPr>
            </a:pP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r>
              <a:rPr lang="cs-CZ" sz="1300" b="1" dirty="0">
                <a:solidFill>
                  <a:schemeClr val="tx1"/>
                </a:solidFill>
              </a:rPr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5247575757575754"/>
          <c:y val="0.26530147707231039"/>
          <c:w val="0.81705673400673395"/>
          <c:h val="0.4595208333333333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1.6435185185185185E-2"/>
                  <c:y val="-3.4175347222222305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9E-4C7C-ACB9-533FC940C4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7796809950011</c:v>
                </c:pt>
                <c:pt idx="26">
                  <c:v>335.5358582090285</c:v>
                </c:pt>
                <c:pt idx="27">
                  <c:v>439.23946078241141</c:v>
                </c:pt>
                <c:pt idx="28">
                  <c:v>679.54380514046318</c:v>
                </c:pt>
                <c:pt idx="29">
                  <c:v>1493.0980997740869</c:v>
                </c:pt>
                <c:pt idx="30">
                  <c:v>2329.020204809472</c:v>
                </c:pt>
                <c:pt idx="31">
                  <c:v>2147.4033094821284</c:v>
                </c:pt>
                <c:pt idx="32">
                  <c:v>1491.0315085956634</c:v>
                </c:pt>
                <c:pt idx="33">
                  <c:v>996.47099165237432</c:v>
                </c:pt>
                <c:pt idx="34">
                  <c:v>626.10231833190744</c:v>
                </c:pt>
                <c:pt idx="35">
                  <c:v>507.19384129645772</c:v>
                </c:pt>
                <c:pt idx="36">
                  <c:v>503.38794713528853</c:v>
                </c:pt>
                <c:pt idx="37">
                  <c:v>505.13660120933923</c:v>
                </c:pt>
                <c:pt idx="38">
                  <c:v>465.7965600888503</c:v>
                </c:pt>
                <c:pt idx="39">
                  <c:v>391.0158829220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1.1795622895623052E-2"/>
                  <c:y val="2.9765625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580-40DD-88C4-9D1681D6C4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5344511622432</c:v>
                </c:pt>
                <c:pt idx="12">
                  <c:v>132.15274039148579</c:v>
                </c:pt>
                <c:pt idx="13">
                  <c:v>141.48870292360553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0166811518261</c:v>
                </c:pt>
                <c:pt idx="17">
                  <c:v>388.4254736287707</c:v>
                </c:pt>
                <c:pt idx="18">
                  <c:v>634.7668099004793</c:v>
                </c:pt>
                <c:pt idx="19">
                  <c:v>885.54581789323174</c:v>
                </c:pt>
                <c:pt idx="20">
                  <c:v>1092.9255199153718</c:v>
                </c:pt>
                <c:pt idx="21">
                  <c:v>928.91142002798767</c:v>
                </c:pt>
                <c:pt idx="22">
                  <c:v>571.71816762580295</c:v>
                </c:pt>
                <c:pt idx="23">
                  <c:v>329.24153786558549</c:v>
                </c:pt>
                <c:pt idx="24">
                  <c:v>211.91848525075204</c:v>
                </c:pt>
                <c:pt idx="25">
                  <c:v>164.46348436546461</c:v>
                </c:pt>
                <c:pt idx="26">
                  <c:v>259.87904367387989</c:v>
                </c:pt>
                <c:pt idx="27">
                  <c:v>701.94978937349515</c:v>
                </c:pt>
                <c:pt idx="28">
                  <c:v>1249.1203298841579</c:v>
                </c:pt>
                <c:pt idx="29">
                  <c:v>1981.9990059615347</c:v>
                </c:pt>
                <c:pt idx="30">
                  <c:v>2552.6498854518964</c:v>
                </c:pt>
                <c:pt idx="31">
                  <c:v>2600.385751635984</c:v>
                </c:pt>
                <c:pt idx="32">
                  <c:v>2431.9452146395083</c:v>
                </c:pt>
                <c:pt idx="33">
                  <c:v>2203.1748114607421</c:v>
                </c:pt>
                <c:pt idx="34">
                  <c:v>2087.8739889972703</c:v>
                </c:pt>
                <c:pt idx="35">
                  <c:v>2442.7978497851491</c:v>
                </c:pt>
                <c:pt idx="36">
                  <c:v>3369.9454357366717</c:v>
                </c:pt>
                <c:pt idx="37">
                  <c:v>3558.720620366284</c:v>
                </c:pt>
                <c:pt idx="38">
                  <c:v>2796.0477533921785</c:v>
                </c:pt>
                <c:pt idx="39">
                  <c:v>1711.8964654113261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5.322379634869002</c:v>
                      </c:pt>
                      <c:pt idx="1">
                        <c:v>65.203203488150081</c:v>
                      </c:pt>
                      <c:pt idx="2">
                        <c:v>82.803642284099553</c:v>
                      </c:pt>
                      <c:pt idx="3">
                        <c:v>90.154515883788505</c:v>
                      </c:pt>
                      <c:pt idx="4">
                        <c:v>97.921967916517687</c:v>
                      </c:pt>
                      <c:pt idx="5">
                        <c:v>106.24485785996715</c:v>
                      </c:pt>
                      <c:pt idx="6">
                        <c:v>115.87823412402236</c:v>
                      </c:pt>
                      <c:pt idx="7">
                        <c:v>120.03533973706958</c:v>
                      </c:pt>
                      <c:pt idx="8">
                        <c:v>122.5087741832459</c:v>
                      </c:pt>
                      <c:pt idx="9">
                        <c:v>119.42782952221926</c:v>
                      </c:pt>
                      <c:pt idx="10">
                        <c:v>119.41915080486424</c:v>
                      </c:pt>
                      <c:pt idx="11">
                        <c:v>125.6244337136926</c:v>
                      </c:pt>
                      <c:pt idx="12">
                        <c:v>118.43845574374872</c:v>
                      </c:pt>
                      <c:pt idx="13">
                        <c:v>115.56580029924218</c:v>
                      </c:pt>
                      <c:pt idx="14">
                        <c:v>129.50382037137967</c:v>
                      </c:pt>
                      <c:pt idx="15">
                        <c:v>198.4909446263118</c:v>
                      </c:pt>
                      <c:pt idx="16">
                        <c:v>347.14869420018675</c:v>
                      </c:pt>
                      <c:pt idx="17">
                        <c:v>475.79332155342098</c:v>
                      </c:pt>
                      <c:pt idx="18">
                        <c:v>501.88154592256501</c:v>
                      </c:pt>
                      <c:pt idx="19">
                        <c:v>639.53468189029411</c:v>
                      </c:pt>
                      <c:pt idx="20">
                        <c:v>980.94674391882279</c:v>
                      </c:pt>
                      <c:pt idx="21">
                        <c:v>1091.5569966083572</c:v>
                      </c:pt>
                      <c:pt idx="22">
                        <c:v>1018.1524052197277</c:v>
                      </c:pt>
                      <c:pt idx="23">
                        <c:v>771.30364749133003</c:v>
                      </c:pt>
                      <c:pt idx="24">
                        <c:v>495.67626301373667</c:v>
                      </c:pt>
                      <c:pt idx="25">
                        <c:v>391.83540986110586</c:v>
                      </c:pt>
                      <c:pt idx="26">
                        <c:v>675.69889710859854</c:v>
                      </c:pt>
                      <c:pt idx="27">
                        <c:v>1352.5347061907025</c:v>
                      </c:pt>
                      <c:pt idx="28">
                        <c:v>1725.3116527402183</c:v>
                      </c:pt>
                      <c:pt idx="29">
                        <c:v>3052.0271747997822</c:v>
                      </c:pt>
                      <c:pt idx="30">
                        <c:v>2767.0528117308486</c:v>
                      </c:pt>
                      <c:pt idx="31">
                        <c:v>1613.260732969753</c:v>
                      </c:pt>
                      <c:pt idx="32">
                        <c:v>882.71234217752499</c:v>
                      </c:pt>
                      <c:pt idx="33">
                        <c:v>548.06100096854493</c:v>
                      </c:pt>
                      <c:pt idx="34">
                        <c:v>388.78050135214414</c:v>
                      </c:pt>
                      <c:pt idx="35">
                        <c:v>386.78439636049308</c:v>
                      </c:pt>
                      <c:pt idx="36">
                        <c:v>496.24037964181196</c:v>
                      </c:pt>
                      <c:pt idx="37">
                        <c:v>623.75677373889562</c:v>
                      </c:pt>
                      <c:pt idx="38">
                        <c:v>681.2966698025765</c:v>
                      </c:pt>
                      <c:pt idx="39">
                        <c:v>604.5854871016902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8B95-4FAB-ADE2-F4AB2C1CD7F1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3.156491357662905</c:v>
                      </c:pt>
                      <c:pt idx="1">
                        <c:v>37.881637218751642</c:v>
                      </c:pt>
                      <c:pt idx="2">
                        <c:v>75.204749788681596</c:v>
                      </c:pt>
                      <c:pt idx="3">
                        <c:v>181.43435546909117</c:v>
                      </c:pt>
                      <c:pt idx="4">
                        <c:v>226.51293929300525</c:v>
                      </c:pt>
                      <c:pt idx="5">
                        <c:v>234.70215841256362</c:v>
                      </c:pt>
                      <c:pt idx="6">
                        <c:v>246.3687876461953</c:v>
                      </c:pt>
                      <c:pt idx="7">
                        <c:v>221.9437323255172</c:v>
                      </c:pt>
                      <c:pt idx="8">
                        <c:v>185.58615438785876</c:v>
                      </c:pt>
                      <c:pt idx="9">
                        <c:v>141.55777515627699</c:v>
                      </c:pt>
                      <c:pt idx="10">
                        <c:v>104.76496391514847</c:v>
                      </c:pt>
                      <c:pt idx="11">
                        <c:v>75.831604580710206</c:v>
                      </c:pt>
                      <c:pt idx="12">
                        <c:v>58.890185379084343</c:v>
                      </c:pt>
                      <c:pt idx="13">
                        <c:v>49.687897614588763</c:v>
                      </c:pt>
                      <c:pt idx="14">
                        <c:v>43.355475864783322</c:v>
                      </c:pt>
                      <c:pt idx="15">
                        <c:v>48.607984264340445</c:v>
                      </c:pt>
                      <c:pt idx="16">
                        <c:v>53.426744798323284</c:v>
                      </c:pt>
                      <c:pt idx="17">
                        <c:v>59.011991286540137</c:v>
                      </c:pt>
                      <c:pt idx="18">
                        <c:v>73.218719321993859</c:v>
                      </c:pt>
                      <c:pt idx="19">
                        <c:v>100.66366988483814</c:v>
                      </c:pt>
                      <c:pt idx="20">
                        <c:v>181.05408336776577</c:v>
                      </c:pt>
                      <c:pt idx="21">
                        <c:v>293.45122719154676</c:v>
                      </c:pt>
                      <c:pt idx="22">
                        <c:v>432.75410762199573</c:v>
                      </c:pt>
                      <c:pt idx="23">
                        <c:v>505.67722480272494</c:v>
                      </c:pt>
                      <c:pt idx="24">
                        <c:v>541.42428776520865</c:v>
                      </c:pt>
                      <c:pt idx="25">
                        <c:v>774.87422203161088</c:v>
                      </c:pt>
                      <c:pt idx="26">
                        <c:v>1701.8825370376112</c:v>
                      </c:pt>
                      <c:pt idx="27">
                        <c:v>2592.5020799101417</c:v>
                      </c:pt>
                      <c:pt idx="28">
                        <c:v>3004.6041444667972</c:v>
                      </c:pt>
                      <c:pt idx="29">
                        <c:v>3687.1405760195426</c:v>
                      </c:pt>
                      <c:pt idx="30">
                        <c:v>3567.05777652288</c:v>
                      </c:pt>
                      <c:pt idx="31">
                        <c:v>2631.1606011483977</c:v>
                      </c:pt>
                      <c:pt idx="32">
                        <c:v>1491.2489288507334</c:v>
                      </c:pt>
                      <c:pt idx="33">
                        <c:v>887.49418153976217</c:v>
                      </c:pt>
                      <c:pt idx="34">
                        <c:v>614.1676669605456</c:v>
                      </c:pt>
                      <c:pt idx="35">
                        <c:v>539.47242237012438</c:v>
                      </c:pt>
                      <c:pt idx="36">
                        <c:v>658.44857063441384</c:v>
                      </c:pt>
                      <c:pt idx="37">
                        <c:v>900.02979194243835</c:v>
                      </c:pt>
                      <c:pt idx="38">
                        <c:v>1291.8051243329344</c:v>
                      </c:pt>
                      <c:pt idx="39">
                        <c:v>1444.16946018117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B95-4FAB-ADE2-F4AB2C1CD7F1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7992439088709524</c:v>
                      </c:pt>
                      <c:pt idx="1">
                        <c:v>13.344737475362786</c:v>
                      </c:pt>
                      <c:pt idx="2">
                        <c:v>27.132119842482805</c:v>
                      </c:pt>
                      <c:pt idx="3">
                        <c:v>50.228458418073004</c:v>
                      </c:pt>
                      <c:pt idx="4">
                        <c:v>63.601699541768639</c:v>
                      </c:pt>
                      <c:pt idx="5">
                        <c:v>68.859784316581781</c:v>
                      </c:pt>
                      <c:pt idx="6">
                        <c:v>74.196673295609259</c:v>
                      </c:pt>
                      <c:pt idx="7">
                        <c:v>73.680254255225833</c:v>
                      </c:pt>
                      <c:pt idx="8">
                        <c:v>76.51217555135446</c:v>
                      </c:pt>
                      <c:pt idx="9">
                        <c:v>69.069369966088033</c:v>
                      </c:pt>
                      <c:pt idx="10">
                        <c:v>58.638711361460338</c:v>
                      </c:pt>
                      <c:pt idx="11">
                        <c:v>49.794196952296026</c:v>
                      </c:pt>
                      <c:pt idx="12">
                        <c:v>40.580811800000696</c:v>
                      </c:pt>
                      <c:pt idx="13">
                        <c:v>36.417602458208286</c:v>
                      </c:pt>
                      <c:pt idx="14">
                        <c:v>30.653158754188023</c:v>
                      </c:pt>
                      <c:pt idx="15">
                        <c:v>29.481155802148997</c:v>
                      </c:pt>
                      <c:pt idx="16">
                        <c:v>39.043291475222752</c:v>
                      </c:pt>
                      <c:pt idx="17">
                        <c:v>51.608370334422233</c:v>
                      </c:pt>
                      <c:pt idx="18">
                        <c:v>60.4981552438799</c:v>
                      </c:pt>
                      <c:pt idx="19">
                        <c:v>87.211103787350169</c:v>
                      </c:pt>
                      <c:pt idx="20">
                        <c:v>110.03581936118026</c:v>
                      </c:pt>
                      <c:pt idx="21">
                        <c:v>137.70615515159514</c:v>
                      </c:pt>
                      <c:pt idx="22">
                        <c:v>169.78784969281787</c:v>
                      </c:pt>
                      <c:pt idx="23">
                        <c:v>195.22484080209401</c:v>
                      </c:pt>
                      <c:pt idx="24">
                        <c:v>274.36941211124713</c:v>
                      </c:pt>
                      <c:pt idx="25">
                        <c:v>432.8496968419031</c:v>
                      </c:pt>
                      <c:pt idx="26">
                        <c:v>1141.4252441186579</c:v>
                      </c:pt>
                      <c:pt idx="27">
                        <c:v>1859.2141765477077</c:v>
                      </c:pt>
                      <c:pt idx="28">
                        <c:v>2129.3499585389286</c:v>
                      </c:pt>
                      <c:pt idx="29">
                        <c:v>2040.1285092015144</c:v>
                      </c:pt>
                      <c:pt idx="30">
                        <c:v>1679.7149661993678</c:v>
                      </c:pt>
                      <c:pt idx="31">
                        <c:v>1167.3937444350818</c:v>
                      </c:pt>
                      <c:pt idx="32">
                        <c:v>811.4133570912918</c:v>
                      </c:pt>
                      <c:pt idx="33">
                        <c:v>610.81641692105336</c:v>
                      </c:pt>
                      <c:pt idx="34">
                        <c:v>493.92295510802819</c:v>
                      </c:pt>
                      <c:pt idx="35">
                        <c:v>438.5437197676892</c:v>
                      </c:pt>
                      <c:pt idx="36">
                        <c:v>581.96904812301125</c:v>
                      </c:pt>
                      <c:pt idx="37">
                        <c:v>819.12107893753421</c:v>
                      </c:pt>
                      <c:pt idx="38">
                        <c:v>843.33911990928186</c:v>
                      </c:pt>
                      <c:pt idx="39">
                        <c:v>806.6398343381372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8B95-4FAB-ADE2-F4AB2C1CD7F1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layout>
                      <c:manualLayout>
                        <c:x val="-1.6435185185185185E-2"/>
                        <c:y val="-2.9765624999999921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679E-4C7C-ACB9-533FC940C4AD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.2519004504415054</c:v>
                      </c:pt>
                      <c:pt idx="1">
                        <c:v>2.8353473853286228</c:v>
                      </c:pt>
                      <c:pt idx="2">
                        <c:v>3.3266711199704058</c:v>
                      </c:pt>
                      <c:pt idx="3">
                        <c:v>4.0738926330714511</c:v>
                      </c:pt>
                      <c:pt idx="4">
                        <c:v>3.9305898771342638</c:v>
                      </c:pt>
                      <c:pt idx="5">
                        <c:v>3.7361075655052254</c:v>
                      </c:pt>
                      <c:pt idx="6">
                        <c:v>5.0463041912166471</c:v>
                      </c:pt>
                      <c:pt idx="7">
                        <c:v>6.3155571723745858</c:v>
                      </c:pt>
                      <c:pt idx="8">
                        <c:v>11.32091771903775</c:v>
                      </c:pt>
                      <c:pt idx="9">
                        <c:v>14.954666173159271</c:v>
                      </c:pt>
                      <c:pt idx="10">
                        <c:v>19.622241652256211</c:v>
                      </c:pt>
                      <c:pt idx="11">
                        <c:v>26.87950264936088</c:v>
                      </c:pt>
                      <c:pt idx="12">
                        <c:v>31.004574838124185</c:v>
                      </c:pt>
                      <c:pt idx="13">
                        <c:v>37.013054676347657</c:v>
                      </c:pt>
                      <c:pt idx="14">
                        <c:v>46.89070892487517</c:v>
                      </c:pt>
                      <c:pt idx="15">
                        <c:v>70.955336011184158</c:v>
                      </c:pt>
                      <c:pt idx="16">
                        <c:v>144.56177300720628</c:v>
                      </c:pt>
                      <c:pt idx="17">
                        <c:v>246.85946892408086</c:v>
                      </c:pt>
                      <c:pt idx="18">
                        <c:v>362.02370514188715</c:v>
                      </c:pt>
                      <c:pt idx="19">
                        <c:v>520.46537365272377</c:v>
                      </c:pt>
                      <c:pt idx="20">
                        <c:v>663.8295450567407</c:v>
                      </c:pt>
                      <c:pt idx="21">
                        <c:v>726.96464495820987</c:v>
                      </c:pt>
                      <c:pt idx="22">
                        <c:v>622.84495685870525</c:v>
                      </c:pt>
                      <c:pt idx="23">
                        <c:v>423.4698797055251</c:v>
                      </c:pt>
                      <c:pt idx="24">
                        <c:v>301.5601780475327</c:v>
                      </c:pt>
                      <c:pt idx="25">
                        <c:v>173.18138055009015</c:v>
                      </c:pt>
                      <c:pt idx="26">
                        <c:v>173.60105290676333</c:v>
                      </c:pt>
                      <c:pt idx="27">
                        <c:v>361.64497642976738</c:v>
                      </c:pt>
                      <c:pt idx="28">
                        <c:v>518.12135000203693</c:v>
                      </c:pt>
                      <c:pt idx="29">
                        <c:v>953.51606618376354</c:v>
                      </c:pt>
                      <c:pt idx="30">
                        <c:v>1146.6165298091228</c:v>
                      </c:pt>
                      <c:pt idx="31">
                        <c:v>994.52112620407581</c:v>
                      </c:pt>
                      <c:pt idx="32">
                        <c:v>680.81092163529729</c:v>
                      </c:pt>
                      <c:pt idx="33">
                        <c:v>436.18288133938125</c:v>
                      </c:pt>
                      <c:pt idx="34">
                        <c:v>285.1622484038632</c:v>
                      </c:pt>
                      <c:pt idx="35">
                        <c:v>187.86991303365178</c:v>
                      </c:pt>
                      <c:pt idx="36">
                        <c:v>128.2559665637821</c:v>
                      </c:pt>
                      <c:pt idx="37">
                        <c:v>117.71297809126052</c:v>
                      </c:pt>
                      <c:pt idx="38">
                        <c:v>149.97656999940426</c:v>
                      </c:pt>
                      <c:pt idx="39">
                        <c:v>143.8452592275203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8B95-4FAB-ADE2-F4AB2C1CD7F1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b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F795-452E-A057-139C692191EC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5.2641254503860324</c:v>
                      </c:pt>
                      <c:pt idx="1">
                        <c:v>6.7130224736192821</c:v>
                      </c:pt>
                      <c:pt idx="2">
                        <c:v>10.952699572308445</c:v>
                      </c:pt>
                      <c:pt idx="3">
                        <c:v>15.194781479334923</c:v>
                      </c:pt>
                      <c:pt idx="4">
                        <c:v>18.65289586839619</c:v>
                      </c:pt>
                      <c:pt idx="5">
                        <c:v>24.553093124002466</c:v>
                      </c:pt>
                      <c:pt idx="6">
                        <c:v>38.562304093040304</c:v>
                      </c:pt>
                      <c:pt idx="7">
                        <c:v>59.695759761378568</c:v>
                      </c:pt>
                      <c:pt idx="8">
                        <c:v>79.814386311369219</c:v>
                      </c:pt>
                      <c:pt idx="9">
                        <c:v>89.877306798870521</c:v>
                      </c:pt>
                      <c:pt idx="10">
                        <c:v>86.182318788583572</c:v>
                      </c:pt>
                      <c:pt idx="11">
                        <c:v>73.91779626826893</c:v>
                      </c:pt>
                      <c:pt idx="12">
                        <c:v>64.459685077602742</c:v>
                      </c:pt>
                      <c:pt idx="13">
                        <c:v>67.921406679169991</c:v>
                      </c:pt>
                      <c:pt idx="14">
                        <c:v>69.7490610155306</c:v>
                      </c:pt>
                      <c:pt idx="15">
                        <c:v>78.581922038494469</c:v>
                      </c:pt>
                      <c:pt idx="16">
                        <c:v>117.50254257379494</c:v>
                      </c:pt>
                      <c:pt idx="17">
                        <c:v>164.76664563541536</c:v>
                      </c:pt>
                      <c:pt idx="18">
                        <c:v>213.89447515845615</c:v>
                      </c:pt>
                      <c:pt idx="19">
                        <c:v>326.20744134032185</c:v>
                      </c:pt>
                      <c:pt idx="20">
                        <c:v>422.91079660466551</c:v>
                      </c:pt>
                      <c:pt idx="21">
                        <c:v>484.9608637282771</c:v>
                      </c:pt>
                      <c:pt idx="22">
                        <c:v>466.8490497357771</c:v>
                      </c:pt>
                      <c:pt idx="23">
                        <c:v>406.65549464857395</c:v>
                      </c:pt>
                      <c:pt idx="24">
                        <c:v>328.9837925657539</c:v>
                      </c:pt>
                      <c:pt idx="25">
                        <c:v>233.18464523624121</c:v>
                      </c:pt>
                      <c:pt idx="26">
                        <c:v>251.01750146161245</c:v>
                      </c:pt>
                      <c:pt idx="27">
                        <c:v>406.56892154843058</c:v>
                      </c:pt>
                      <c:pt idx="28">
                        <c:v>584.40690290133034</c:v>
                      </c:pt>
                      <c:pt idx="29">
                        <c:v>957.18586250212547</c:v>
                      </c:pt>
                      <c:pt idx="30">
                        <c:v>1335.3576047993529</c:v>
                      </c:pt>
                      <c:pt idx="31">
                        <c:v>1550.4761274015032</c:v>
                      </c:pt>
                      <c:pt idx="32">
                        <c:v>1571.7827292701284</c:v>
                      </c:pt>
                      <c:pt idx="33">
                        <c:v>1431.478996446066</c:v>
                      </c:pt>
                      <c:pt idx="34">
                        <c:v>1311.1580185009359</c:v>
                      </c:pt>
                      <c:pt idx="35">
                        <c:v>1352.5495796028295</c:v>
                      </c:pt>
                      <c:pt idx="36">
                        <c:v>1681.8351756149164</c:v>
                      </c:pt>
                      <c:pt idx="37">
                        <c:v>1882.6811607350926</c:v>
                      </c:pt>
                      <c:pt idx="38">
                        <c:v>1882.0547081632219</c:v>
                      </c:pt>
                      <c:pt idx="39">
                        <c:v>1531.737860837132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8B95-4FAB-ADE2-F4AB2C1CD7F1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3.393489102595218</c:v>
                      </c:pt>
                      <c:pt idx="1">
                        <c:v>224.6549420841547</c:v>
                      </c:pt>
                      <c:pt idx="2">
                        <c:v>402.7324870164357</c:v>
                      </c:pt>
                      <c:pt idx="3">
                        <c:v>258.36438541015309</c:v>
                      </c:pt>
                      <c:pt idx="4">
                        <c:v>140.14580425716721</c:v>
                      </c:pt>
                      <c:pt idx="5">
                        <c:v>103.60426216502749</c:v>
                      </c:pt>
                      <c:pt idx="6">
                        <c:v>92.557353590403252</c:v>
                      </c:pt>
                      <c:pt idx="7">
                        <c:v>97.187519118820902</c:v>
                      </c:pt>
                      <c:pt idx="8">
                        <c:v>102.42086998282646</c:v>
                      </c:pt>
                      <c:pt idx="9">
                        <c:v>101.43853957915471</c:v>
                      </c:pt>
                      <c:pt idx="10">
                        <c:v>96.027105425594641</c:v>
                      </c:pt>
                      <c:pt idx="11">
                        <c:v>80.545348478838392</c:v>
                      </c:pt>
                      <c:pt idx="12">
                        <c:v>66.706553493778728</c:v>
                      </c:pt>
                      <c:pt idx="13">
                        <c:v>66.310174558963809</c:v>
                      </c:pt>
                      <c:pt idx="14">
                        <c:v>92.677990657520837</c:v>
                      </c:pt>
                      <c:pt idx="15">
                        <c:v>135.17096139412791</c:v>
                      </c:pt>
                      <c:pt idx="16">
                        <c:v>200.07944812563028</c:v>
                      </c:pt>
                      <c:pt idx="17">
                        <c:v>284.12327155087854</c:v>
                      </c:pt>
                      <c:pt idx="18">
                        <c:v>395.89638654643937</c:v>
                      </c:pt>
                      <c:pt idx="19">
                        <c:v>538.63301543551279</c:v>
                      </c:pt>
                      <c:pt idx="20">
                        <c:v>844.24691880005184</c:v>
                      </c:pt>
                      <c:pt idx="21">
                        <c:v>902.63525928496108</c:v>
                      </c:pt>
                      <c:pt idx="22">
                        <c:v>874.13044371174988</c:v>
                      </c:pt>
                      <c:pt idx="23">
                        <c:v>738.13800133677353</c:v>
                      </c:pt>
                      <c:pt idx="24">
                        <c:v>572.61820062920845</c:v>
                      </c:pt>
                      <c:pt idx="25">
                        <c:v>489.17181791730439</c:v>
                      </c:pt>
                      <c:pt idx="26">
                        <c:v>578.51218305123882</c:v>
                      </c:pt>
                      <c:pt idx="27">
                        <c:v>1015.6894250408659</c:v>
                      </c:pt>
                      <c:pt idx="28">
                        <c:v>1288.185581170507</c:v>
                      </c:pt>
                      <c:pt idx="29">
                        <c:v>1829.3404857710018</c:v>
                      </c:pt>
                      <c:pt idx="30">
                        <c:v>2447.9731105722017</c:v>
                      </c:pt>
                      <c:pt idx="31">
                        <c:v>3257.913145332911</c:v>
                      </c:pt>
                      <c:pt idx="32">
                        <c:v>4920.9123494154992</c:v>
                      </c:pt>
                      <c:pt idx="33">
                        <c:v>1996.5779285294311</c:v>
                      </c:pt>
                      <c:pt idx="34">
                        <c:v>1441.3429548096419</c:v>
                      </c:pt>
                      <c:pt idx="35">
                        <c:v>2153.118884670102</c:v>
                      </c:pt>
                      <c:pt idx="36">
                        <c:v>2660.7768969676149</c:v>
                      </c:pt>
                      <c:pt idx="37">
                        <c:v>1957.1583306932007</c:v>
                      </c:pt>
                      <c:pt idx="38">
                        <c:v>1392.4791980047778</c:v>
                      </c:pt>
                      <c:pt idx="39">
                        <c:v>899.2803998946436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8B95-4FAB-ADE2-F4AB2C1CD7F1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.630743847340457</c:v>
                      </c:pt>
                      <c:pt idx="1">
                        <c:v>1.4753094580139838</c:v>
                      </c:pt>
                      <c:pt idx="2">
                        <c:v>1.6570886590907066</c:v>
                      </c:pt>
                      <c:pt idx="3">
                        <c:v>1.9442471071684286</c:v>
                      </c:pt>
                      <c:pt idx="4">
                        <c:v>2.3604951328223742</c:v>
                      </c:pt>
                      <c:pt idx="5">
                        <c:v>2.7451293843760198</c:v>
                      </c:pt>
                      <c:pt idx="6">
                        <c:v>3.4274600087074871</c:v>
                      </c:pt>
                      <c:pt idx="7">
                        <c:v>3.5565495862837109</c:v>
                      </c:pt>
                      <c:pt idx="8">
                        <c:v>4.2467836541402537</c:v>
                      </c:pt>
                      <c:pt idx="9">
                        <c:v>6.014520522582008</c:v>
                      </c:pt>
                      <c:pt idx="10">
                        <c:v>8.5646983000061798</c:v>
                      </c:pt>
                      <c:pt idx="11">
                        <c:v>11.539027546609372</c:v>
                      </c:pt>
                      <c:pt idx="12">
                        <c:v>14.115550135783794</c:v>
                      </c:pt>
                      <c:pt idx="13">
                        <c:v>20.801863357997171</c:v>
                      </c:pt>
                      <c:pt idx="14">
                        <c:v>30.970960693593558</c:v>
                      </c:pt>
                      <c:pt idx="15">
                        <c:v>46.946454538944984</c:v>
                      </c:pt>
                      <c:pt idx="16">
                        <c:v>91.564027719167896</c:v>
                      </c:pt>
                      <c:pt idx="17">
                        <c:v>142.98646577448031</c:v>
                      </c:pt>
                      <c:pt idx="18">
                        <c:v>214.39934698588218</c:v>
                      </c:pt>
                      <c:pt idx="19">
                        <c:v>269.99743770360914</c:v>
                      </c:pt>
                      <c:pt idx="20">
                        <c:v>378.62763447458883</c:v>
                      </c:pt>
                      <c:pt idx="21">
                        <c:v>430.01845875580096</c:v>
                      </c:pt>
                      <c:pt idx="22">
                        <c:v>431.23558905866247</c:v>
                      </c:pt>
                      <c:pt idx="23">
                        <c:v>408.2049546265942</c:v>
                      </c:pt>
                      <c:pt idx="24">
                        <c:v>339.38176841024182</c:v>
                      </c:pt>
                      <c:pt idx="25">
                        <c:v>227.70611140093331</c:v>
                      </c:pt>
                      <c:pt idx="26">
                        <c:v>208.07659216582223</c:v>
                      </c:pt>
                      <c:pt idx="27">
                        <c:v>229.57395855402601</c:v>
                      </c:pt>
                      <c:pt idx="28">
                        <c:v>270.0422238835846</c:v>
                      </c:pt>
                      <c:pt idx="29">
                        <c:v>589.70753517993955</c:v>
                      </c:pt>
                      <c:pt idx="30">
                        <c:v>892.54378073023497</c:v>
                      </c:pt>
                      <c:pt idx="31">
                        <c:v>884.62189583693487</c:v>
                      </c:pt>
                      <c:pt idx="32">
                        <c:v>599.29441217585543</c:v>
                      </c:pt>
                      <c:pt idx="33">
                        <c:v>391.15459246183252</c:v>
                      </c:pt>
                      <c:pt idx="34">
                        <c:v>273.0508013854631</c:v>
                      </c:pt>
                      <c:pt idx="35">
                        <c:v>211.50932113687981</c:v>
                      </c:pt>
                      <c:pt idx="36">
                        <c:v>201.9066372539138</c:v>
                      </c:pt>
                      <c:pt idx="37">
                        <c:v>187.90963877100609</c:v>
                      </c:pt>
                      <c:pt idx="38">
                        <c:v>132.4906927731808</c:v>
                      </c:pt>
                      <c:pt idx="39">
                        <c:v>69.58718575710959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8B95-4FAB-ADE2-F4AB2C1CD7F1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4.1957737015866803</c:v>
                      </c:pt>
                      <c:pt idx="1">
                        <c:v>4.2873844810973063</c:v>
                      </c:pt>
                      <c:pt idx="2">
                        <c:v>3.9392635189569267</c:v>
                      </c:pt>
                      <c:pt idx="3">
                        <c:v>5.8264455768758268</c:v>
                      </c:pt>
                      <c:pt idx="4">
                        <c:v>7.6586611670883515</c:v>
                      </c:pt>
                      <c:pt idx="5">
                        <c:v>7.7319497906968531</c:v>
                      </c:pt>
                      <c:pt idx="6">
                        <c:v>10.406984552407136</c:v>
                      </c:pt>
                      <c:pt idx="7">
                        <c:v>12.40409954573879</c:v>
                      </c:pt>
                      <c:pt idx="8">
                        <c:v>15.042489995644823</c:v>
                      </c:pt>
                      <c:pt idx="9">
                        <c:v>31.330886592634162</c:v>
                      </c:pt>
                      <c:pt idx="10">
                        <c:v>56.249018619524492</c:v>
                      </c:pt>
                      <c:pt idx="11">
                        <c:v>90.236617817966817</c:v>
                      </c:pt>
                      <c:pt idx="12">
                        <c:v>120.21166487384372</c:v>
                      </c:pt>
                      <c:pt idx="13">
                        <c:v>160.53873001442136</c:v>
                      </c:pt>
                      <c:pt idx="14">
                        <c:v>200.55431850466289</c:v>
                      </c:pt>
                      <c:pt idx="15">
                        <c:v>246.34138610407391</c:v>
                      </c:pt>
                      <c:pt idx="16">
                        <c:v>411.64387665304781</c:v>
                      </c:pt>
                      <c:pt idx="17">
                        <c:v>601.75456629349935</c:v>
                      </c:pt>
                      <c:pt idx="18">
                        <c:v>790.76592657982337</c:v>
                      </c:pt>
                      <c:pt idx="19">
                        <c:v>941.9053906164545</c:v>
                      </c:pt>
                      <c:pt idx="20">
                        <c:v>1141.8550779763473</c:v>
                      </c:pt>
                      <c:pt idx="21">
                        <c:v>1176.4656304754617</c:v>
                      </c:pt>
                      <c:pt idx="22">
                        <c:v>1123.2764118915923</c:v>
                      </c:pt>
                      <c:pt idx="23">
                        <c:v>824.86345871367826</c:v>
                      </c:pt>
                      <c:pt idx="24">
                        <c:v>569.32435034673756</c:v>
                      </c:pt>
                      <c:pt idx="25">
                        <c:v>367.26761505810049</c:v>
                      </c:pt>
                      <c:pt idx="26">
                        <c:v>364.04291561932644</c:v>
                      </c:pt>
                      <c:pt idx="27">
                        <c:v>340.84706624723589</c:v>
                      </c:pt>
                      <c:pt idx="28">
                        <c:v>327.19706010015256</c:v>
                      </c:pt>
                      <c:pt idx="29">
                        <c:v>809.41788128818678</c:v>
                      </c:pt>
                      <c:pt idx="30">
                        <c:v>1789.011946595313</c:v>
                      </c:pt>
                      <c:pt idx="31">
                        <c:v>2441.2623745550691</c:v>
                      </c:pt>
                      <c:pt idx="32">
                        <c:v>2515.3754951791661</c:v>
                      </c:pt>
                      <c:pt idx="33">
                        <c:v>2262.4198107944248</c:v>
                      </c:pt>
                      <c:pt idx="34">
                        <c:v>1752.2943461674538</c:v>
                      </c:pt>
                      <c:pt idx="35">
                        <c:v>1375.5908208197588</c:v>
                      </c:pt>
                      <c:pt idx="36">
                        <c:v>1307.3224679284403</c:v>
                      </c:pt>
                      <c:pt idx="37">
                        <c:v>1241.2161294335724</c:v>
                      </c:pt>
                      <c:pt idx="38">
                        <c:v>1070.2337705549396</c:v>
                      </c:pt>
                      <c:pt idx="39">
                        <c:v>736.2575127710007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8B95-4FAB-ADE2-F4AB2C1CD7F1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66.77084430621136</c:v>
                      </c:pt>
                      <c:pt idx="1">
                        <c:v>285.80293494882829</c:v>
                      </c:pt>
                      <c:pt idx="2">
                        <c:v>373.15496667900067</c:v>
                      </c:pt>
                      <c:pt idx="3">
                        <c:v>392.68061552653739</c:v>
                      </c:pt>
                      <c:pt idx="4">
                        <c:v>333.33253050423122</c:v>
                      </c:pt>
                      <c:pt idx="5">
                        <c:v>251.92354683812729</c:v>
                      </c:pt>
                      <c:pt idx="6">
                        <c:v>191.68389897080266</c:v>
                      </c:pt>
                      <c:pt idx="7">
                        <c:v>144.77966503181082</c:v>
                      </c:pt>
                      <c:pt idx="8">
                        <c:v>109.67068076992324</c:v>
                      </c:pt>
                      <c:pt idx="9">
                        <c:v>72.328563979162453</c:v>
                      </c:pt>
                      <c:pt idx="10">
                        <c:v>49.031731059687516</c:v>
                      </c:pt>
                      <c:pt idx="11">
                        <c:v>37.770996547961623</c:v>
                      </c:pt>
                      <c:pt idx="12">
                        <c:v>30.587788791888823</c:v>
                      </c:pt>
                      <c:pt idx="13">
                        <c:v>25.684193144287363</c:v>
                      </c:pt>
                      <c:pt idx="14">
                        <c:v>21.90667094785849</c:v>
                      </c:pt>
                      <c:pt idx="15">
                        <c:v>22.464425903035906</c:v>
                      </c:pt>
                      <c:pt idx="16">
                        <c:v>26.212370185175068</c:v>
                      </c:pt>
                      <c:pt idx="17">
                        <c:v>28.375783344651111</c:v>
                      </c:pt>
                      <c:pt idx="18">
                        <c:v>33.908966024990718</c:v>
                      </c:pt>
                      <c:pt idx="19">
                        <c:v>53.755746513387159</c:v>
                      </c:pt>
                      <c:pt idx="20">
                        <c:v>85.892150389158729</c:v>
                      </c:pt>
                      <c:pt idx="21">
                        <c:v>124.97302599852186</c:v>
                      </c:pt>
                      <c:pt idx="22">
                        <c:v>189.19301604597624</c:v>
                      </c:pt>
                      <c:pt idx="23">
                        <c:v>243.3987693981997</c:v>
                      </c:pt>
                      <c:pt idx="24">
                        <c:v>483.32213386735833</c:v>
                      </c:pt>
                      <c:pt idx="25">
                        <c:v>1033.0910521865537</c:v>
                      </c:pt>
                      <c:pt idx="26">
                        <c:v>1665.3802386658804</c:v>
                      </c:pt>
                      <c:pt idx="27">
                        <c:v>1869.9368684771982</c:v>
                      </c:pt>
                      <c:pt idx="28">
                        <c:v>2007.1467001590067</c:v>
                      </c:pt>
                      <c:pt idx="29">
                        <c:v>1780.8334016794427</c:v>
                      </c:pt>
                      <c:pt idx="30">
                        <c:v>1317.6643909841953</c:v>
                      </c:pt>
                      <c:pt idx="31">
                        <c:v>806.4207060273493</c:v>
                      </c:pt>
                      <c:pt idx="32">
                        <c:v>512.79018733256521</c:v>
                      </c:pt>
                      <c:pt idx="33">
                        <c:v>331.99307352853992</c:v>
                      </c:pt>
                      <c:pt idx="34">
                        <c:v>246.88685057622214</c:v>
                      </c:pt>
                      <c:pt idx="35">
                        <c:v>231.87817178235707</c:v>
                      </c:pt>
                      <c:pt idx="36">
                        <c:v>229.29010428200735</c:v>
                      </c:pt>
                      <c:pt idx="37">
                        <c:v>242.41424739398502</c:v>
                      </c:pt>
                      <c:pt idx="38">
                        <c:v>246.47275977616616</c:v>
                      </c:pt>
                      <c:pt idx="39">
                        <c:v>85.65763978300458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49AF-4F0F-9F24-6EADCC764DFA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2-A50C-414A-BE02-F1C320178424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78.56506264198623</c:v>
                      </c:pt>
                      <c:pt idx="1">
                        <c:v>345.2872069401609</c:v>
                      </c:pt>
                      <c:pt idx="2">
                        <c:v>497.83085810795717</c:v>
                      </c:pt>
                      <c:pt idx="3">
                        <c:v>333.86050159989304</c:v>
                      </c:pt>
                      <c:pt idx="4">
                        <c:v>270.80718631478879</c:v>
                      </c:pt>
                      <c:pt idx="5">
                        <c:v>290.36790744054247</c:v>
                      </c:pt>
                      <c:pt idx="6">
                        <c:v>305.50017416285425</c:v>
                      </c:pt>
                      <c:pt idx="7">
                        <c:v>351.36567935789117</c:v>
                      </c:pt>
                      <c:pt idx="8">
                        <c:v>353.67834930846101</c:v>
                      </c:pt>
                      <c:pt idx="9">
                        <c:v>393.02165506856812</c:v>
                      </c:pt>
                      <c:pt idx="10">
                        <c:v>337.5748787504906</c:v>
                      </c:pt>
                      <c:pt idx="11">
                        <c:v>312.88484962128121</c:v>
                      </c:pt>
                      <c:pt idx="12">
                        <c:v>359.53789680710935</c:v>
                      </c:pt>
                      <c:pt idx="13">
                        <c:v>341.99304809061988</c:v>
                      </c:pt>
                      <c:pt idx="14">
                        <c:v>389.10010735696017</c:v>
                      </c:pt>
                      <c:pt idx="15">
                        <c:v>466.76702831447079</c:v>
                      </c:pt>
                      <c:pt idx="16">
                        <c:v>467.67946035977184</c:v>
                      </c:pt>
                      <c:pt idx="17">
                        <c:v>414.75840173231023</c:v>
                      </c:pt>
                      <c:pt idx="18">
                        <c:v>353.81352442628338</c:v>
                      </c:pt>
                      <c:pt idx="19">
                        <c:v>405.78394934471146</c:v>
                      </c:pt>
                      <c:pt idx="20">
                        <c:v>439.61886905355658</c:v>
                      </c:pt>
                      <c:pt idx="21">
                        <c:v>442.42669133788888</c:v>
                      </c:pt>
                      <c:pt idx="22">
                        <c:v>502.5135005046954</c:v>
                      </c:pt>
                      <c:pt idx="23">
                        <c:v>565.43457926149506</c:v>
                      </c:pt>
                      <c:pt idx="24">
                        <c:v>998.31232396103997</c:v>
                      </c:pt>
                      <c:pt idx="25">
                        <c:v>1356.8202451421332</c:v>
                      </c:pt>
                      <c:pt idx="26">
                        <c:v>0</c:v>
                      </c:pt>
                      <c:pt idx="27">
                        <c:v>1745.714651232842</c:v>
                      </c:pt>
                      <c:pt idx="28">
                        <c:v>1011.2685651453633</c:v>
                      </c:pt>
                      <c:pt idx="29">
                        <c:v>1043.8163826453779</c:v>
                      </c:pt>
                      <c:pt idx="30">
                        <c:v>964.82268852054551</c:v>
                      </c:pt>
                      <c:pt idx="31">
                        <c:v>629.22254192606886</c:v>
                      </c:pt>
                      <c:pt idx="32">
                        <c:v>800.33073237305814</c:v>
                      </c:pt>
                      <c:pt idx="33">
                        <c:v>378.67105315801183</c:v>
                      </c:pt>
                      <c:pt idx="34">
                        <c:v>412.79689322912685</c:v>
                      </c:pt>
                      <c:pt idx="35">
                        <c:v>526.88910055549184</c:v>
                      </c:pt>
                      <c:pt idx="36">
                        <c:v>767.05708326212766</c:v>
                      </c:pt>
                      <c:pt idx="37">
                        <c:v>648.13971194740725</c:v>
                      </c:pt>
                      <c:pt idx="38">
                        <c:v>709.14189174903277</c:v>
                      </c:pt>
                      <c:pt idx="39">
                        <c:v>982.30876544667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8B95-4FAB-ADE2-F4AB2C1CD7F1}"/>
                  </c:ext>
                </c:extLst>
              </c15:ser>
            </c15:filteredLineSeries>
          </c:ext>
        </c:extLst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2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7 denní kumulativní počet případů na 100 tisíc osob </a:t>
                </a:r>
              </a:p>
            </c:rich>
          </c:tx>
          <c:layout>
            <c:manualLayout>
              <c:xMode val="edge"/>
              <c:yMode val="edge"/>
              <c:x val="6.4141414141414138E-3"/>
              <c:y val="0.226667013888888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620101010101013"/>
          <c:y val="0.15671006944444443"/>
          <c:w val="0.70125514621668827"/>
          <c:h val="0.104522569444444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8049443959542598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41.66674918553804</c:v>
                </c:pt>
                <c:pt idx="1">
                  <c:v>505.84068576483401</c:v>
                </c:pt>
                <c:pt idx="2">
                  <c:v>376.8911950163</c:v>
                </c:pt>
                <c:pt idx="3">
                  <c:v>602.717841570367</c:v>
                </c:pt>
                <c:pt idx="4">
                  <c:v>721.65504250822096</c:v>
                </c:pt>
                <c:pt idx="5">
                  <c:v>1521.75802606056</c:v>
                </c:pt>
                <c:pt idx="6">
                  <c:v>2443.2187641313499</c:v>
                </c:pt>
                <c:pt idx="7">
                  <c:v>3039.4451210991901</c:v>
                </c:pt>
                <c:pt idx="8">
                  <c:v>2207.8199284176198</c:v>
                </c:pt>
                <c:pt idx="9">
                  <c:v>1485.5597475142499</c:v>
                </c:pt>
                <c:pt idx="10">
                  <c:v>979.27896109840299</c:v>
                </c:pt>
                <c:pt idx="11">
                  <c:v>737.22360303801395</c:v>
                </c:pt>
                <c:pt idx="12">
                  <c:v>666.75248629361499</c:v>
                </c:pt>
                <c:pt idx="13">
                  <c:v>631.049320979708</c:v>
                </c:pt>
                <c:pt idx="14">
                  <c:v>602.99290447725298</c:v>
                </c:pt>
                <c:pt idx="15">
                  <c:v>481.69016254017203</c:v>
                </c:pt>
                <c:pt idx="16">
                  <c:v>363.74318806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812.93934051526605</c:v>
                </c:pt>
                <c:pt idx="1">
                  <c:v>610.50514843131202</c:v>
                </c:pt>
                <c:pt idx="2">
                  <c:v>408.11049427550103</c:v>
                </c:pt>
                <c:pt idx="3">
                  <c:v>464.21481430814299</c:v>
                </c:pt>
                <c:pt idx="4">
                  <c:v>576.02807509201398</c:v>
                </c:pt>
                <c:pt idx="5">
                  <c:v>1406.3641039894901</c:v>
                </c:pt>
                <c:pt idx="6">
                  <c:v>2423.8726847083499</c:v>
                </c:pt>
                <c:pt idx="7">
                  <c:v>2989.73951226802</c:v>
                </c:pt>
                <c:pt idx="8">
                  <c:v>2075.9389170640502</c:v>
                </c:pt>
                <c:pt idx="9">
                  <c:v>1347.8479703402199</c:v>
                </c:pt>
                <c:pt idx="10">
                  <c:v>853.58433064462201</c:v>
                </c:pt>
                <c:pt idx="11">
                  <c:v>630.90671935227294</c:v>
                </c:pt>
                <c:pt idx="12">
                  <c:v>598.68330791703499</c:v>
                </c:pt>
                <c:pt idx="13">
                  <c:v>602.04403180905297</c:v>
                </c:pt>
                <c:pt idx="14">
                  <c:v>578.24219906793201</c:v>
                </c:pt>
                <c:pt idx="15">
                  <c:v>478.52754429532899</c:v>
                </c:pt>
                <c:pt idx="16">
                  <c:v>357.38333247008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551.08013418041003</c:v>
                </c:pt>
                <c:pt idx="1">
                  <c:v>406.186234475383</c:v>
                </c:pt>
                <c:pt idx="2">
                  <c:v>272.97245455199902</c:v>
                </c:pt>
                <c:pt idx="3">
                  <c:v>315.61496082376999</c:v>
                </c:pt>
                <c:pt idx="4">
                  <c:v>352.467752548607</c:v>
                </c:pt>
                <c:pt idx="5">
                  <c:v>752.46150972596502</c:v>
                </c:pt>
                <c:pt idx="6">
                  <c:v>1365.0133087916499</c:v>
                </c:pt>
                <c:pt idx="7">
                  <c:v>1930.64324735523</c:v>
                </c:pt>
                <c:pt idx="8">
                  <c:v>1591.7183923120599</c:v>
                </c:pt>
                <c:pt idx="9">
                  <c:v>1135.69026738915</c:v>
                </c:pt>
                <c:pt idx="10">
                  <c:v>744.20487332859705</c:v>
                </c:pt>
                <c:pt idx="11">
                  <c:v>574.03761099260305</c:v>
                </c:pt>
                <c:pt idx="12">
                  <c:v>570.06032882557895</c:v>
                </c:pt>
                <c:pt idx="13">
                  <c:v>600.01580843798001</c:v>
                </c:pt>
                <c:pt idx="14">
                  <c:v>594.17574854715895</c:v>
                </c:pt>
                <c:pt idx="15">
                  <c:v>536.78205651667599</c:v>
                </c:pt>
                <c:pt idx="16">
                  <c:v>409.05591907690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62.400906002265</c:v>
                </c:pt>
                <c:pt idx="1">
                  <c:v>244.12586628736099</c:v>
                </c:pt>
                <c:pt idx="2">
                  <c:v>153.371031891743</c:v>
                </c:pt>
                <c:pt idx="3">
                  <c:v>174.62961746141499</c:v>
                </c:pt>
                <c:pt idx="4">
                  <c:v>137.601026596423</c:v>
                </c:pt>
                <c:pt idx="5">
                  <c:v>260.82351895299502</c:v>
                </c:pt>
                <c:pt idx="6">
                  <c:v>516.081153684112</c:v>
                </c:pt>
                <c:pt idx="7">
                  <c:v>766.08211998345598</c:v>
                </c:pt>
                <c:pt idx="8">
                  <c:v>697.90003826545399</c:v>
                </c:pt>
                <c:pt idx="9">
                  <c:v>572.35842748309904</c:v>
                </c:pt>
                <c:pt idx="10">
                  <c:v>421.07460217456003</c:v>
                </c:pt>
                <c:pt idx="11">
                  <c:v>335.57643621071497</c:v>
                </c:pt>
                <c:pt idx="12">
                  <c:v>344.69830201879199</c:v>
                </c:pt>
                <c:pt idx="13">
                  <c:v>393.39978896022302</c:v>
                </c:pt>
                <c:pt idx="14">
                  <c:v>417.13210085072899</c:v>
                </c:pt>
                <c:pt idx="15">
                  <c:v>401.51670345046102</c:v>
                </c:pt>
                <c:pt idx="16">
                  <c:v>316.17314538166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301.135502881256</c:v>
                </c:pt>
                <c:pt idx="1">
                  <c:v>216.36886554947301</c:v>
                </c:pt>
                <c:pt idx="2">
                  <c:v>142.93528477773901</c:v>
                </c:pt>
                <c:pt idx="3">
                  <c:v>162.82595547496399</c:v>
                </c:pt>
                <c:pt idx="4">
                  <c:v>129.86757670339799</c:v>
                </c:pt>
                <c:pt idx="5">
                  <c:v>194.51225646938201</c:v>
                </c:pt>
                <c:pt idx="6">
                  <c:v>368.55562507010802</c:v>
                </c:pt>
                <c:pt idx="7">
                  <c:v>601.57714515679504</c:v>
                </c:pt>
                <c:pt idx="8">
                  <c:v>664.71846027705806</c:v>
                </c:pt>
                <c:pt idx="9">
                  <c:v>599.95813707678803</c:v>
                </c:pt>
                <c:pt idx="10">
                  <c:v>457.13849573333499</c:v>
                </c:pt>
                <c:pt idx="11">
                  <c:v>364.97067860723598</c:v>
                </c:pt>
                <c:pt idx="12">
                  <c:v>376.18809173299701</c:v>
                </c:pt>
                <c:pt idx="13">
                  <c:v>429.731001807506</c:v>
                </c:pt>
                <c:pt idx="14">
                  <c:v>442.91435331613297</c:v>
                </c:pt>
                <c:pt idx="15">
                  <c:v>458.06364320762498</c:v>
                </c:pt>
                <c:pt idx="16">
                  <c:v>349.24317154431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704.08867611425603</c:v>
                </c:pt>
                <c:pt idx="1">
                  <c:v>506.420569219485</c:v>
                </c:pt>
                <c:pt idx="2">
                  <c:v>308.45344656312602</c:v>
                </c:pt>
                <c:pt idx="3">
                  <c:v>388.63639188145999</c:v>
                </c:pt>
                <c:pt idx="4">
                  <c:v>526.10888827154497</c:v>
                </c:pt>
                <c:pt idx="5">
                  <c:v>1229.2070746755401</c:v>
                </c:pt>
                <c:pt idx="6">
                  <c:v>2031.81209999049</c:v>
                </c:pt>
                <c:pt idx="7">
                  <c:v>2404.56327953759</c:v>
                </c:pt>
                <c:pt idx="8">
                  <c:v>1690.8874105674199</c:v>
                </c:pt>
                <c:pt idx="9">
                  <c:v>1126.6820454210499</c:v>
                </c:pt>
                <c:pt idx="10">
                  <c:v>702.537531851018</c:v>
                </c:pt>
                <c:pt idx="11">
                  <c:v>531.47248349503002</c:v>
                </c:pt>
                <c:pt idx="12">
                  <c:v>501.75779218722198</c:v>
                </c:pt>
                <c:pt idx="13">
                  <c:v>502.48664310609303</c:v>
                </c:pt>
                <c:pt idx="14">
                  <c:v>488.52634473695298</c:v>
                </c:pt>
                <c:pt idx="15">
                  <c:v>419.59386744836797</c:v>
                </c:pt>
                <c:pt idx="16">
                  <c:v>315.32146483710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8:$R$8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486-4E48-9314-60725F77D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379751207144663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Vývoj podílu potvrzených případů z počtu provedených testů </a:t>
            </a: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301447811447812"/>
          <c:y val="0.27030243055555553"/>
          <c:w val="0.79486414141414141"/>
          <c:h val="0.4332725694444444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03F-4320-AF59-C361F65367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0.0%</c:formatCode>
                <c:ptCount val="40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303215543877</c:v>
                </c:pt>
                <c:pt idx="29">
                  <c:v>0.18201497650018639</c:v>
                </c:pt>
                <c:pt idx="30">
                  <c:v>0.23258424343165041</c:v>
                </c:pt>
                <c:pt idx="31">
                  <c:v>0.23946110250835509</c:v>
                </c:pt>
                <c:pt idx="32">
                  <c:v>0.22860510028086384</c:v>
                </c:pt>
                <c:pt idx="33">
                  <c:v>0.20245925621938754</c:v>
                </c:pt>
                <c:pt idx="34">
                  <c:v>0.21163377290025667</c:v>
                </c:pt>
                <c:pt idx="35">
                  <c:v>0.21183964880213094</c:v>
                </c:pt>
                <c:pt idx="36">
                  <c:v>0.23592107915749985</c:v>
                </c:pt>
                <c:pt idx="37">
                  <c:v>0.26639871779065466</c:v>
                </c:pt>
                <c:pt idx="38">
                  <c:v>0.25831008411205258</c:v>
                </c:pt>
                <c:pt idx="39">
                  <c:v>0.2338136536214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35-49CD-8FF9-9A59E9E3ECB4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61-4944-9242-40AA8378D6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B$2:$B$41</c:f>
              <c:numCache>
                <c:formatCode>0.0%</c:formatCode>
                <c:ptCount val="40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362084110846E-2</c:v>
                </c:pt>
                <c:pt idx="19">
                  <c:v>1.8289901305118796E-2</c:v>
                </c:pt>
                <c:pt idx="20">
                  <c:v>1.6461207562456292E-2</c:v>
                </c:pt>
                <c:pt idx="21">
                  <c:v>1.0562943044960632E-2</c:v>
                </c:pt>
                <c:pt idx="22">
                  <c:v>8.4512810361085551E-3</c:v>
                </c:pt>
                <c:pt idx="23">
                  <c:v>5.7847750232577324E-3</c:v>
                </c:pt>
                <c:pt idx="24">
                  <c:v>3.1485708829886035E-3</c:v>
                </c:pt>
                <c:pt idx="25">
                  <c:v>3.068613133177894E-3</c:v>
                </c:pt>
                <c:pt idx="26">
                  <c:v>4.7753666062073158E-3</c:v>
                </c:pt>
                <c:pt idx="27">
                  <c:v>1.498984818703231E-2</c:v>
                </c:pt>
                <c:pt idx="28">
                  <c:v>1.394991405593265E-2</c:v>
                </c:pt>
                <c:pt idx="29">
                  <c:v>2.2645218323759143E-2</c:v>
                </c:pt>
                <c:pt idx="30">
                  <c:v>2.8674969143359069E-2</c:v>
                </c:pt>
                <c:pt idx="31">
                  <c:v>2.9196393432697258E-2</c:v>
                </c:pt>
                <c:pt idx="32">
                  <c:v>3.5410049846169148E-2</c:v>
                </c:pt>
                <c:pt idx="33">
                  <c:v>3.1546346213211063E-2</c:v>
                </c:pt>
                <c:pt idx="34">
                  <c:v>3.2523194977816541E-2</c:v>
                </c:pt>
                <c:pt idx="35">
                  <c:v>3.7523981540620595E-2</c:v>
                </c:pt>
                <c:pt idx="36">
                  <c:v>5.1193064417610859E-2</c:v>
                </c:pt>
                <c:pt idx="37">
                  <c:v>5.1458171594492765E-2</c:v>
                </c:pt>
                <c:pt idx="38">
                  <c:v>5.2791963881928999E-2</c:v>
                </c:pt>
                <c:pt idx="39">
                  <c:v>3.3134899838780034E-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C835-49CD-8FF9-9A59E9E3E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9867693557789119E-3</c:v>
                      </c:pt>
                      <c:pt idx="1">
                        <c:v>1.7590892914005282E-2</c:v>
                      </c:pt>
                      <c:pt idx="2">
                        <c:v>1.8972151244295528E-2</c:v>
                      </c:pt>
                      <c:pt idx="3">
                        <c:v>2.4622415215268364E-2</c:v>
                      </c:pt>
                      <c:pt idx="4">
                        <c:v>2.9400039085401602E-2</c:v>
                      </c:pt>
                      <c:pt idx="5">
                        <c:v>3.4785030105162061E-2</c:v>
                      </c:pt>
                      <c:pt idx="6">
                        <c:v>3.7961907307212252E-2</c:v>
                      </c:pt>
                      <c:pt idx="7">
                        <c:v>4.5126053436085833E-2</c:v>
                      </c:pt>
                      <c:pt idx="8">
                        <c:v>4.9234933224511432E-2</c:v>
                      </c:pt>
                      <c:pt idx="9">
                        <c:v>4.8767781581577324E-2</c:v>
                      </c:pt>
                      <c:pt idx="10">
                        <c:v>4.6002373668990189E-2</c:v>
                      </c:pt>
                      <c:pt idx="11">
                        <c:v>4.3773039436560086E-2</c:v>
                      </c:pt>
                      <c:pt idx="12">
                        <c:v>4.1042621530910532E-2</c:v>
                      </c:pt>
                      <c:pt idx="13">
                        <c:v>4.2871446830841944E-2</c:v>
                      </c:pt>
                      <c:pt idx="14">
                        <c:v>4.7695759737644554E-2</c:v>
                      </c:pt>
                      <c:pt idx="15">
                        <c:v>6.4971478569155944E-2</c:v>
                      </c:pt>
                      <c:pt idx="16">
                        <c:v>8.513971427111891E-2</c:v>
                      </c:pt>
                      <c:pt idx="17">
                        <c:v>9.2231106864128914E-2</c:v>
                      </c:pt>
                      <c:pt idx="18">
                        <c:v>0.11053915290717456</c:v>
                      </c:pt>
                      <c:pt idx="19">
                        <c:v>0.13001104449909845</c:v>
                      </c:pt>
                      <c:pt idx="20">
                        <c:v>0.14918011582909665</c:v>
                      </c:pt>
                      <c:pt idx="21">
                        <c:v>0.15018060024955671</c:v>
                      </c:pt>
                      <c:pt idx="22">
                        <c:v>0.15328191533145796</c:v>
                      </c:pt>
                      <c:pt idx="23">
                        <c:v>0.14208313349320545</c:v>
                      </c:pt>
                      <c:pt idx="24">
                        <c:v>0.11158259972570303</c:v>
                      </c:pt>
                      <c:pt idx="25">
                        <c:v>0.10078891676861121</c:v>
                      </c:pt>
                      <c:pt idx="26">
                        <c:v>0.16588295703197409</c:v>
                      </c:pt>
                      <c:pt idx="27">
                        <c:v>0.25716614769747642</c:v>
                      </c:pt>
                      <c:pt idx="28">
                        <c:v>0.32841639917862037</c:v>
                      </c:pt>
                      <c:pt idx="29">
                        <c:v>0.43336726319136193</c:v>
                      </c:pt>
                      <c:pt idx="30">
                        <c:v>0.41144656441757377</c:v>
                      </c:pt>
                      <c:pt idx="31">
                        <c:v>0.34894464551202148</c:v>
                      </c:pt>
                      <c:pt idx="32">
                        <c:v>0.27074293928181647</c:v>
                      </c:pt>
                      <c:pt idx="33">
                        <c:v>0.20855005696735524</c:v>
                      </c:pt>
                      <c:pt idx="34">
                        <c:v>0.1698831595833033</c:v>
                      </c:pt>
                      <c:pt idx="35">
                        <c:v>0.19520303445738488</c:v>
                      </c:pt>
                      <c:pt idx="36">
                        <c:v>0.23456511572573699</c:v>
                      </c:pt>
                      <c:pt idx="37">
                        <c:v>0.26768668084456576</c:v>
                      </c:pt>
                      <c:pt idx="38">
                        <c:v>0.29048348541699043</c:v>
                      </c:pt>
                      <c:pt idx="39">
                        <c:v>0.2568893609018397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C835-49CD-8FF9-9A59E9E3ECB4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7743639303792011E-3</c:v>
                      </c:pt>
                      <c:pt idx="1">
                        <c:v>1.2407202619028043E-2</c:v>
                      </c:pt>
                      <c:pt idx="2">
                        <c:v>2.3378893884813186E-2</c:v>
                      </c:pt>
                      <c:pt idx="3">
                        <c:v>4.2076159564349735E-2</c:v>
                      </c:pt>
                      <c:pt idx="4">
                        <c:v>4.2618263732455378E-2</c:v>
                      </c:pt>
                      <c:pt idx="5">
                        <c:v>4.3305743173333432E-2</c:v>
                      </c:pt>
                      <c:pt idx="6">
                        <c:v>3.5691828298066018E-2</c:v>
                      </c:pt>
                      <c:pt idx="7">
                        <c:v>3.1057260114972538E-2</c:v>
                      </c:pt>
                      <c:pt idx="8">
                        <c:v>2.8494347519878557E-2</c:v>
                      </c:pt>
                      <c:pt idx="9">
                        <c:v>2.4630632269883723E-2</c:v>
                      </c:pt>
                      <c:pt idx="10">
                        <c:v>1.9954781460228933E-2</c:v>
                      </c:pt>
                      <c:pt idx="11">
                        <c:v>1.4879269519677944E-2</c:v>
                      </c:pt>
                      <c:pt idx="12">
                        <c:v>1.2461365680182484E-2</c:v>
                      </c:pt>
                      <c:pt idx="13">
                        <c:v>1.0940178320000707E-2</c:v>
                      </c:pt>
                      <c:pt idx="14">
                        <c:v>1.0219963646944673E-2</c:v>
                      </c:pt>
                      <c:pt idx="15">
                        <c:v>1.1529827699139957E-2</c:v>
                      </c:pt>
                      <c:pt idx="16">
                        <c:v>1.7536007395283458E-2</c:v>
                      </c:pt>
                      <c:pt idx="17">
                        <c:v>2.1321999384926842E-2</c:v>
                      </c:pt>
                      <c:pt idx="18">
                        <c:v>2.9361010393789341E-2</c:v>
                      </c:pt>
                      <c:pt idx="19">
                        <c:v>3.610796744224707E-2</c:v>
                      </c:pt>
                      <c:pt idx="20">
                        <c:v>4.7830374559951212E-2</c:v>
                      </c:pt>
                      <c:pt idx="21">
                        <c:v>5.6620310421184351E-2</c:v>
                      </c:pt>
                      <c:pt idx="22">
                        <c:v>6.4567926298003023E-2</c:v>
                      </c:pt>
                      <c:pt idx="23">
                        <c:v>6.6628787641547255E-2</c:v>
                      </c:pt>
                      <c:pt idx="24">
                        <c:v>6.7942473851072646E-2</c:v>
                      </c:pt>
                      <c:pt idx="25">
                        <c:v>8.3196439462180929E-2</c:v>
                      </c:pt>
                      <c:pt idx="26">
                        <c:v>0.16929061897830538</c:v>
                      </c:pt>
                      <c:pt idx="27">
                        <c:v>0.20191556692272886</c:v>
                      </c:pt>
                      <c:pt idx="28">
                        <c:v>0.22901896117841777</c:v>
                      </c:pt>
                      <c:pt idx="29">
                        <c:v>0.31210067829523158</c:v>
                      </c:pt>
                      <c:pt idx="30">
                        <c:v>0.34234847520375028</c:v>
                      </c:pt>
                      <c:pt idx="31">
                        <c:v>0.33387090359491628</c:v>
                      </c:pt>
                      <c:pt idx="32">
                        <c:v>0.28941657268452214</c:v>
                      </c:pt>
                      <c:pt idx="33">
                        <c:v>0.24508426908678613</c:v>
                      </c:pt>
                      <c:pt idx="34">
                        <c:v>0.20915940943915942</c:v>
                      </c:pt>
                      <c:pt idx="35">
                        <c:v>0.20379597171118383</c:v>
                      </c:pt>
                      <c:pt idx="36">
                        <c:v>0.24874147539318547</c:v>
                      </c:pt>
                      <c:pt idx="37">
                        <c:v>0.26591151964925602</c:v>
                      </c:pt>
                      <c:pt idx="38">
                        <c:v>0.30261640076039831</c:v>
                      </c:pt>
                      <c:pt idx="39">
                        <c:v>0.309975299998055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C835-49CD-8FF9-9A59E9E3ECB4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3408098157885376E-3</c:v>
                      </c:pt>
                      <c:pt idx="1">
                        <c:v>6.8108593800141198E-3</c:v>
                      </c:pt>
                      <c:pt idx="2">
                        <c:v>1.2609648695592545E-2</c:v>
                      </c:pt>
                      <c:pt idx="3">
                        <c:v>2.0863076873790815E-2</c:v>
                      </c:pt>
                      <c:pt idx="4">
                        <c:v>2.5569832545335174E-2</c:v>
                      </c:pt>
                      <c:pt idx="5">
                        <c:v>2.8072768136666513E-2</c:v>
                      </c:pt>
                      <c:pt idx="6">
                        <c:v>3.0902234636871508E-2</c:v>
                      </c:pt>
                      <c:pt idx="7">
                        <c:v>3.146811833628007E-2</c:v>
                      </c:pt>
                      <c:pt idx="8">
                        <c:v>2.8257319762290012E-2</c:v>
                      </c:pt>
                      <c:pt idx="9">
                        <c:v>2.1661329421106046E-2</c:v>
                      </c:pt>
                      <c:pt idx="10">
                        <c:v>1.8084808770974535E-2</c:v>
                      </c:pt>
                      <c:pt idx="11">
                        <c:v>1.510077522533196E-2</c:v>
                      </c:pt>
                      <c:pt idx="12">
                        <c:v>1.2233858110901847E-2</c:v>
                      </c:pt>
                      <c:pt idx="13">
                        <c:v>1.0848527681976311E-2</c:v>
                      </c:pt>
                      <c:pt idx="14">
                        <c:v>9.4715377234737882E-3</c:v>
                      </c:pt>
                      <c:pt idx="15">
                        <c:v>7.3469162632053744E-3</c:v>
                      </c:pt>
                      <c:pt idx="16">
                        <c:v>7.0040055115261094E-3</c:v>
                      </c:pt>
                      <c:pt idx="17">
                        <c:v>9.6101339143124485E-3</c:v>
                      </c:pt>
                      <c:pt idx="18">
                        <c:v>1.1687742090966277E-2</c:v>
                      </c:pt>
                      <c:pt idx="19">
                        <c:v>1.5019348087411023E-2</c:v>
                      </c:pt>
                      <c:pt idx="20">
                        <c:v>1.7749101212906186E-2</c:v>
                      </c:pt>
                      <c:pt idx="21">
                        <c:v>2.1410194881521825E-2</c:v>
                      </c:pt>
                      <c:pt idx="22">
                        <c:v>2.5320089194404895E-2</c:v>
                      </c:pt>
                      <c:pt idx="23">
                        <c:v>3.1835448177544655E-2</c:v>
                      </c:pt>
                      <c:pt idx="24">
                        <c:v>3.7392561339494514E-2</c:v>
                      </c:pt>
                      <c:pt idx="25">
                        <c:v>5.1772223714052108E-2</c:v>
                      </c:pt>
                      <c:pt idx="26">
                        <c:v>0.1099416169886472</c:v>
                      </c:pt>
                      <c:pt idx="27">
                        <c:v>0.16770627660435258</c:v>
                      </c:pt>
                      <c:pt idx="28">
                        <c:v>0.16626931477156651</c:v>
                      </c:pt>
                      <c:pt idx="29">
                        <c:v>0.1642190960980853</c:v>
                      </c:pt>
                      <c:pt idx="30">
                        <c:v>0.14421071026949278</c:v>
                      </c:pt>
                      <c:pt idx="31">
                        <c:v>0.11559724632397134</c:v>
                      </c:pt>
                      <c:pt idx="32">
                        <c:v>0.10701716404592676</c:v>
                      </c:pt>
                      <c:pt idx="33">
                        <c:v>0.10565698458504329</c:v>
                      </c:pt>
                      <c:pt idx="34">
                        <c:v>9.8478015670474747E-2</c:v>
                      </c:pt>
                      <c:pt idx="35">
                        <c:v>9.8978368136378031E-2</c:v>
                      </c:pt>
                      <c:pt idx="36">
                        <c:v>0.12484475110360249</c:v>
                      </c:pt>
                      <c:pt idx="37">
                        <c:v>0.15499804085491697</c:v>
                      </c:pt>
                      <c:pt idx="38">
                        <c:v>0.15188249685427668</c:v>
                      </c:pt>
                      <c:pt idx="39">
                        <c:v>0.1484851393564384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C835-49CD-8FF9-9A59E9E3ECB4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b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903F-4320-AF59-C361F6536748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6165145315286956E-3</c:v>
                      </c:pt>
                      <c:pt idx="1">
                        <c:v>5.932112645893565E-3</c:v>
                      </c:pt>
                      <c:pt idx="2">
                        <c:v>7.0108074292987033E-3</c:v>
                      </c:pt>
                      <c:pt idx="3">
                        <c:v>8.5268660553603562E-3</c:v>
                      </c:pt>
                      <c:pt idx="4">
                        <c:v>8.2225220016701999E-3</c:v>
                      </c:pt>
                      <c:pt idx="5">
                        <c:v>7.7855040313979775E-3</c:v>
                      </c:pt>
                      <c:pt idx="6">
                        <c:v>9.8493626882966388E-3</c:v>
                      </c:pt>
                      <c:pt idx="7">
                        <c:v>1.1483342639121534E-2</c:v>
                      </c:pt>
                      <c:pt idx="8">
                        <c:v>1.714011189114634E-2</c:v>
                      </c:pt>
                      <c:pt idx="9">
                        <c:v>2.0650760445524961E-2</c:v>
                      </c:pt>
                      <c:pt idx="10">
                        <c:v>2.344409250449437E-2</c:v>
                      </c:pt>
                      <c:pt idx="11">
                        <c:v>2.7386688359093091E-2</c:v>
                      </c:pt>
                      <c:pt idx="12">
                        <c:v>3.28770989135036E-2</c:v>
                      </c:pt>
                      <c:pt idx="13">
                        <c:v>4.4005792797945746E-2</c:v>
                      </c:pt>
                      <c:pt idx="14">
                        <c:v>5.0057914636011974E-2</c:v>
                      </c:pt>
                      <c:pt idx="15">
                        <c:v>6.8871645587227151E-2</c:v>
                      </c:pt>
                      <c:pt idx="16">
                        <c:v>0.11984589665911424</c:v>
                      </c:pt>
                      <c:pt idx="17">
                        <c:v>0.16136845697309521</c:v>
                      </c:pt>
                      <c:pt idx="18">
                        <c:v>0.20132975089940344</c:v>
                      </c:pt>
                      <c:pt idx="19">
                        <c:v>0.22405975279264989</c:v>
                      </c:pt>
                      <c:pt idx="20">
                        <c:v>0.23216177902514462</c:v>
                      </c:pt>
                      <c:pt idx="21">
                        <c:v>0.24564115866839603</c:v>
                      </c:pt>
                      <c:pt idx="22">
                        <c:v>0.25009453194357678</c:v>
                      </c:pt>
                      <c:pt idx="23">
                        <c:v>0.22101900279405715</c:v>
                      </c:pt>
                      <c:pt idx="24">
                        <c:v>0.18354848356468215</c:v>
                      </c:pt>
                      <c:pt idx="25">
                        <c:v>0.16831643768839721</c:v>
                      </c:pt>
                      <c:pt idx="26">
                        <c:v>0.19135301019947648</c:v>
                      </c:pt>
                      <c:pt idx="27">
                        <c:v>0.22770981837868495</c:v>
                      </c:pt>
                      <c:pt idx="28">
                        <c:v>0.2949646576188617</c:v>
                      </c:pt>
                      <c:pt idx="29">
                        <c:v>0.35231291153411221</c:v>
                      </c:pt>
                      <c:pt idx="30">
                        <c:v>0.39168989017060096</c:v>
                      </c:pt>
                      <c:pt idx="31">
                        <c:v>0.39053801475169325</c:v>
                      </c:pt>
                      <c:pt idx="32">
                        <c:v>0.3739528398421248</c:v>
                      </c:pt>
                      <c:pt idx="33">
                        <c:v>0.29039402488721699</c:v>
                      </c:pt>
                      <c:pt idx="34">
                        <c:v>0.22802537343973808</c:v>
                      </c:pt>
                      <c:pt idx="35">
                        <c:v>0.19537587021779396</c:v>
                      </c:pt>
                      <c:pt idx="36">
                        <c:v>0.16460851287440884</c:v>
                      </c:pt>
                      <c:pt idx="37">
                        <c:v>0.18144811372852207</c:v>
                      </c:pt>
                      <c:pt idx="38">
                        <c:v>0.20324030405592852</c:v>
                      </c:pt>
                      <c:pt idx="39">
                        <c:v>0.2082203553066334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835-49CD-8FF9-9A59E9E3ECB4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5.9877127429687456E-3</c:v>
                      </c:pt>
                      <c:pt idx="1">
                        <c:v>9.0549769935789615E-3</c:v>
                      </c:pt>
                      <c:pt idx="2">
                        <c:v>1.4874993876251286E-2</c:v>
                      </c:pt>
                      <c:pt idx="3">
                        <c:v>2.1098694876174353E-2</c:v>
                      </c:pt>
                      <c:pt idx="4">
                        <c:v>2.6390103328490698E-2</c:v>
                      </c:pt>
                      <c:pt idx="5">
                        <c:v>3.4350560761970128E-2</c:v>
                      </c:pt>
                      <c:pt idx="6">
                        <c:v>5.5997499659520673E-2</c:v>
                      </c:pt>
                      <c:pt idx="7">
                        <c:v>7.1351887382240714E-2</c:v>
                      </c:pt>
                      <c:pt idx="8">
                        <c:v>7.6618176487630446E-2</c:v>
                      </c:pt>
                      <c:pt idx="9">
                        <c:v>7.8566075574703881E-2</c:v>
                      </c:pt>
                      <c:pt idx="10">
                        <c:v>7.0543204821838429E-2</c:v>
                      </c:pt>
                      <c:pt idx="11">
                        <c:v>6.22768139799924E-2</c:v>
                      </c:pt>
                      <c:pt idx="12">
                        <c:v>5.536775679457983E-2</c:v>
                      </c:pt>
                      <c:pt idx="13">
                        <c:v>5.8218246279424499E-2</c:v>
                      </c:pt>
                      <c:pt idx="14">
                        <c:v>6.0168219587863045E-2</c:v>
                      </c:pt>
                      <c:pt idx="15">
                        <c:v>7.5629649173968791E-2</c:v>
                      </c:pt>
                      <c:pt idx="16">
                        <c:v>0.10700188222051653</c:v>
                      </c:pt>
                      <c:pt idx="17">
                        <c:v>0.11714594450419151</c:v>
                      </c:pt>
                      <c:pt idx="18">
                        <c:v>0.1485271193558918</c:v>
                      </c:pt>
                      <c:pt idx="19">
                        <c:v>0.16559503390689187</c:v>
                      </c:pt>
                      <c:pt idx="20">
                        <c:v>0.18791215190644381</c:v>
                      </c:pt>
                      <c:pt idx="21">
                        <c:v>0.20651834965967375</c:v>
                      </c:pt>
                      <c:pt idx="22">
                        <c:v>0.19902584404380319</c:v>
                      </c:pt>
                      <c:pt idx="23">
                        <c:v>0.19408876380765239</c:v>
                      </c:pt>
                      <c:pt idx="24">
                        <c:v>0.17571966033291075</c:v>
                      </c:pt>
                      <c:pt idx="25">
                        <c:v>0.15574790831102037</c:v>
                      </c:pt>
                      <c:pt idx="26">
                        <c:v>0.21735866579763322</c:v>
                      </c:pt>
                      <c:pt idx="27">
                        <c:v>0.22544419767721735</c:v>
                      </c:pt>
                      <c:pt idx="28">
                        <c:v>0.23668168798447159</c:v>
                      </c:pt>
                      <c:pt idx="29">
                        <c:v>0.31526928938272075</c:v>
                      </c:pt>
                      <c:pt idx="30">
                        <c:v>0.43312322745099263</c:v>
                      </c:pt>
                      <c:pt idx="31">
                        <c:v>0.4922949585465563</c:v>
                      </c:pt>
                      <c:pt idx="32">
                        <c:v>0.52494660981351382</c:v>
                      </c:pt>
                      <c:pt idx="33">
                        <c:v>0.54699633395008496</c:v>
                      </c:pt>
                      <c:pt idx="34">
                        <c:v>0.54687835389889805</c:v>
                      </c:pt>
                      <c:pt idx="35">
                        <c:v>0.60050608449155329</c:v>
                      </c:pt>
                      <c:pt idx="36">
                        <c:v>0.60871754432232905</c:v>
                      </c:pt>
                      <c:pt idx="37">
                        <c:v>0.63278429876447018</c:v>
                      </c:pt>
                      <c:pt idx="38">
                        <c:v>0.68036649760843748</c:v>
                      </c:pt>
                      <c:pt idx="39">
                        <c:v>0.5790436363636363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835-49CD-8FF9-9A59E9E3ECB4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2664570792401693E-2</c:v>
                      </c:pt>
                      <c:pt idx="1">
                        <c:v>7.2727847548059665E-2</c:v>
                      </c:pt>
                      <c:pt idx="2">
                        <c:v>9.4513432296560729E-2</c:v>
                      </c:pt>
                      <c:pt idx="3">
                        <c:v>4.2831783230702129E-2</c:v>
                      </c:pt>
                      <c:pt idx="4">
                        <c:v>3.0733414462694352E-2</c:v>
                      </c:pt>
                      <c:pt idx="5">
                        <c:v>2.7825907177032018E-2</c:v>
                      </c:pt>
                      <c:pt idx="6">
                        <c:v>3.1658826627053833E-2</c:v>
                      </c:pt>
                      <c:pt idx="7">
                        <c:v>3.5897827627619984E-2</c:v>
                      </c:pt>
                      <c:pt idx="8">
                        <c:v>4.3226953019873879E-2</c:v>
                      </c:pt>
                      <c:pt idx="9">
                        <c:v>4.5557040469347422E-2</c:v>
                      </c:pt>
                      <c:pt idx="10">
                        <c:v>4.3039102347891683E-2</c:v>
                      </c:pt>
                      <c:pt idx="11">
                        <c:v>3.6923409141183784E-2</c:v>
                      </c:pt>
                      <c:pt idx="12">
                        <c:v>2.4035884092889627E-2</c:v>
                      </c:pt>
                      <c:pt idx="13">
                        <c:v>2.0344820293002074E-2</c:v>
                      </c:pt>
                      <c:pt idx="14">
                        <c:v>3.3619732134112158E-2</c:v>
                      </c:pt>
                      <c:pt idx="15">
                        <c:v>3.4936066849191406E-2</c:v>
                      </c:pt>
                      <c:pt idx="16">
                        <c:v>4.5092329940846172E-2</c:v>
                      </c:pt>
                      <c:pt idx="17">
                        <c:v>6.2254394775862025E-2</c:v>
                      </c:pt>
                      <c:pt idx="18">
                        <c:v>7.3599111462349279E-2</c:v>
                      </c:pt>
                      <c:pt idx="19">
                        <c:v>8.4868908162397103E-2</c:v>
                      </c:pt>
                      <c:pt idx="20">
                        <c:v>0.11660870469067507</c:v>
                      </c:pt>
                      <c:pt idx="21">
                        <c:v>0.11914617732365264</c:v>
                      </c:pt>
                      <c:pt idx="22">
                        <c:v>0.13478692212980434</c:v>
                      </c:pt>
                      <c:pt idx="23">
                        <c:v>0.13769468669025661</c:v>
                      </c:pt>
                      <c:pt idx="24">
                        <c:v>0.13154168453696677</c:v>
                      </c:pt>
                      <c:pt idx="25">
                        <c:v>0.14067017104493687</c:v>
                      </c:pt>
                      <c:pt idx="26">
                        <c:v>0.18941545568425053</c:v>
                      </c:pt>
                      <c:pt idx="27">
                        <c:v>0.25260632833807906</c:v>
                      </c:pt>
                      <c:pt idx="28">
                        <c:v>0.277643370617907</c:v>
                      </c:pt>
                      <c:pt idx="29">
                        <c:v>0.34742478594433246</c:v>
                      </c:pt>
                      <c:pt idx="30">
                        <c:v>0.39496951064092073</c:v>
                      </c:pt>
                      <c:pt idx="31">
                        <c:v>0.43659985403662632</c:v>
                      </c:pt>
                      <c:pt idx="32">
                        <c:v>0.40541792815693611</c:v>
                      </c:pt>
                      <c:pt idx="33">
                        <c:v>0.36555597627161429</c:v>
                      </c:pt>
                      <c:pt idx="34">
                        <c:v>0.3327030306244903</c:v>
                      </c:pt>
                      <c:pt idx="35">
                        <c:v>0.52813455097304551</c:v>
                      </c:pt>
                      <c:pt idx="36">
                        <c:v>0.4757271581594032</c:v>
                      </c:pt>
                      <c:pt idx="37">
                        <c:v>0.44892129178816653</c:v>
                      </c:pt>
                      <c:pt idx="38">
                        <c:v>0.60882658776605092</c:v>
                      </c:pt>
                      <c:pt idx="39">
                        <c:v>0.5670512379330954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835-49CD-8FF9-9A59E9E3ECB4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2.1344901189314447E-3</c:v>
                      </c:pt>
                      <c:pt idx="1">
                        <c:v>2.0111258354252631E-3</c:v>
                      </c:pt>
                      <c:pt idx="2">
                        <c:v>2.3433512530782099E-3</c:v>
                      </c:pt>
                      <c:pt idx="3">
                        <c:v>2.8143125717401832E-3</c:v>
                      </c:pt>
                      <c:pt idx="4">
                        <c:v>3.483765110247946E-3</c:v>
                      </c:pt>
                      <c:pt idx="5">
                        <c:v>3.8001043022869918E-3</c:v>
                      </c:pt>
                      <c:pt idx="6">
                        <c:v>4.7280722475605544E-3</c:v>
                      </c:pt>
                      <c:pt idx="7">
                        <c:v>5.0274835768869819E-3</c:v>
                      </c:pt>
                      <c:pt idx="8">
                        <c:v>6.2417235210754972E-3</c:v>
                      </c:pt>
                      <c:pt idx="9">
                        <c:v>8.9875520632396125E-3</c:v>
                      </c:pt>
                      <c:pt idx="10">
                        <c:v>1.2670956577321677E-2</c:v>
                      </c:pt>
                      <c:pt idx="11">
                        <c:v>1.6751379694115217E-2</c:v>
                      </c:pt>
                      <c:pt idx="12">
                        <c:v>2.0444139194139194E-2</c:v>
                      </c:pt>
                      <c:pt idx="13">
                        <c:v>2.9341924839187968E-2</c:v>
                      </c:pt>
                      <c:pt idx="14">
                        <c:v>4.6197617026627683E-2</c:v>
                      </c:pt>
                      <c:pt idx="15">
                        <c:v>6.6678390888034927E-2</c:v>
                      </c:pt>
                      <c:pt idx="16">
                        <c:v>0.11175634569997235</c:v>
                      </c:pt>
                      <c:pt idx="17">
                        <c:v>0.15054810327419588</c:v>
                      </c:pt>
                      <c:pt idx="18">
                        <c:v>0.19202110339815676</c:v>
                      </c:pt>
                      <c:pt idx="19">
                        <c:v>0.2228222939699312</c:v>
                      </c:pt>
                      <c:pt idx="20">
                        <c:v>0.24583406029879135</c:v>
                      </c:pt>
                      <c:pt idx="21">
                        <c:v>0.25382659606727159</c:v>
                      </c:pt>
                      <c:pt idx="22">
                        <c:v>0.24777299622639223</c:v>
                      </c:pt>
                      <c:pt idx="23">
                        <c:v>0.23529259911104902</c:v>
                      </c:pt>
                      <c:pt idx="24">
                        <c:v>0.20158611181963143</c:v>
                      </c:pt>
                      <c:pt idx="25">
                        <c:v>0.16609146146957882</c:v>
                      </c:pt>
                      <c:pt idx="26">
                        <c:v>0.14003577931714339</c:v>
                      </c:pt>
                      <c:pt idx="27">
                        <c:v>0.14660029373219902</c:v>
                      </c:pt>
                      <c:pt idx="28">
                        <c:v>0.16684218493385919</c:v>
                      </c:pt>
                      <c:pt idx="29">
                        <c:v>0.26552017005285683</c:v>
                      </c:pt>
                      <c:pt idx="30">
                        <c:v>0.30805804850105023</c:v>
                      </c:pt>
                      <c:pt idx="31">
                        <c:v>0.32726372532871495</c:v>
                      </c:pt>
                      <c:pt idx="32">
                        <c:v>0.27033280450631919</c:v>
                      </c:pt>
                      <c:pt idx="33">
                        <c:v>0.21960378876622533</c:v>
                      </c:pt>
                      <c:pt idx="34">
                        <c:v>0.18787704109747963</c:v>
                      </c:pt>
                      <c:pt idx="35">
                        <c:v>0.16463584687441044</c:v>
                      </c:pt>
                      <c:pt idx="36">
                        <c:v>0.16055372600283233</c:v>
                      </c:pt>
                      <c:pt idx="37">
                        <c:v>0.15324408579279702</c:v>
                      </c:pt>
                      <c:pt idx="38">
                        <c:v>0.12322238883498476</c:v>
                      </c:pt>
                      <c:pt idx="39">
                        <c:v>8.8551112839475546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835-49CD-8FF9-9A59E9E3ECB4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0677334676159702E-3</c:v>
                      </c:pt>
                      <c:pt idx="1">
                        <c:v>2.4285447412665793E-3</c:v>
                      </c:pt>
                      <c:pt idx="2">
                        <c:v>2.2151018431707894E-3</c:v>
                      </c:pt>
                      <c:pt idx="3">
                        <c:v>3.1765375740442918E-3</c:v>
                      </c:pt>
                      <c:pt idx="4">
                        <c:v>4.1363613873633166E-3</c:v>
                      </c:pt>
                      <c:pt idx="5">
                        <c:v>4.4324937503938825E-3</c:v>
                      </c:pt>
                      <c:pt idx="6">
                        <c:v>5.7273653111229875E-3</c:v>
                      </c:pt>
                      <c:pt idx="7">
                        <c:v>5.9536372590403824E-3</c:v>
                      </c:pt>
                      <c:pt idx="8">
                        <c:v>7.3170949083357839E-3</c:v>
                      </c:pt>
                      <c:pt idx="9">
                        <c:v>1.1196375255355927E-2</c:v>
                      </c:pt>
                      <c:pt idx="10">
                        <c:v>1.7050535120214604E-2</c:v>
                      </c:pt>
                      <c:pt idx="11">
                        <c:v>2.8315500796283626E-2</c:v>
                      </c:pt>
                      <c:pt idx="12">
                        <c:v>2.9621302416296458E-2</c:v>
                      </c:pt>
                      <c:pt idx="13">
                        <c:v>3.8364537541376954E-2</c:v>
                      </c:pt>
                      <c:pt idx="14">
                        <c:v>4.5630007586937131E-2</c:v>
                      </c:pt>
                      <c:pt idx="15">
                        <c:v>5.5002372731586785E-2</c:v>
                      </c:pt>
                      <c:pt idx="16">
                        <c:v>8.3156289557254848E-2</c:v>
                      </c:pt>
                      <c:pt idx="17">
                        <c:v>0.1123544383475417</c:v>
                      </c:pt>
                      <c:pt idx="18">
                        <c:v>0.13808626432166271</c:v>
                      </c:pt>
                      <c:pt idx="19">
                        <c:v>0.13431291607010357</c:v>
                      </c:pt>
                      <c:pt idx="20">
                        <c:v>0.1500915177496267</c:v>
                      </c:pt>
                      <c:pt idx="21">
                        <c:v>0.13441968837073959</c:v>
                      </c:pt>
                      <c:pt idx="22">
                        <c:v>0.12895144785634807</c:v>
                      </c:pt>
                      <c:pt idx="23">
                        <c:v>0.11794603091433063</c:v>
                      </c:pt>
                      <c:pt idx="24">
                        <c:v>9.2125743798345039E-2</c:v>
                      </c:pt>
                      <c:pt idx="25">
                        <c:v>8.6784284013421364E-2</c:v>
                      </c:pt>
                      <c:pt idx="26">
                        <c:v>8.8836924397626721E-2</c:v>
                      </c:pt>
                      <c:pt idx="27">
                        <c:v>6.9600646508182373E-2</c:v>
                      </c:pt>
                      <c:pt idx="28">
                        <c:v>6.3353874207544431E-2</c:v>
                      </c:pt>
                      <c:pt idx="29">
                        <c:v>0.12973622229922999</c:v>
                      </c:pt>
                      <c:pt idx="30">
                        <c:v>0.2159361316289973</c:v>
                      </c:pt>
                      <c:pt idx="31">
                        <c:v>0.27208032476230926</c:v>
                      </c:pt>
                      <c:pt idx="32">
                        <c:v>0.30979857654136561</c:v>
                      </c:pt>
                      <c:pt idx="33">
                        <c:v>0.30674374178675495</c:v>
                      </c:pt>
                      <c:pt idx="34">
                        <c:v>0.29158460215735654</c:v>
                      </c:pt>
                      <c:pt idx="35">
                        <c:v>0.28276581560978181</c:v>
                      </c:pt>
                      <c:pt idx="36">
                        <c:v>0.30223524976597016</c:v>
                      </c:pt>
                      <c:pt idx="37">
                        <c:v>0.3152936796053244</c:v>
                      </c:pt>
                      <c:pt idx="38">
                        <c:v>0.29265262155865629</c:v>
                      </c:pt>
                      <c:pt idx="39">
                        <c:v>0.24956061085958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C835-49CD-8FF9-9A59E9E3ECB4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9.3768115253399731E-2</c:v>
                      </c:pt>
                      <c:pt idx="1">
                        <c:v>0.12834347376879807</c:v>
                      </c:pt>
                      <c:pt idx="2">
                        <c:v>0.14455208446718187</c:v>
                      </c:pt>
                      <c:pt idx="3">
                        <c:v>0.14611957582194521</c:v>
                      </c:pt>
                      <c:pt idx="4">
                        <c:v>0.13041778327379014</c:v>
                      </c:pt>
                      <c:pt idx="5">
                        <c:v>0.11555756267177318</c:v>
                      </c:pt>
                      <c:pt idx="6">
                        <c:v>0.10164894260631076</c:v>
                      </c:pt>
                      <c:pt idx="7">
                        <c:v>8.8058606364100137E-2</c:v>
                      </c:pt>
                      <c:pt idx="8">
                        <c:v>7.1315132931078065E-2</c:v>
                      </c:pt>
                      <c:pt idx="9">
                        <c:v>4.9587483125626455E-2</c:v>
                      </c:pt>
                      <c:pt idx="10">
                        <c:v>3.7510182443527842E-2</c:v>
                      </c:pt>
                      <c:pt idx="11">
                        <c:v>2.8376336440053839E-2</c:v>
                      </c:pt>
                      <c:pt idx="12">
                        <c:v>2.2598640772455818E-2</c:v>
                      </c:pt>
                      <c:pt idx="13">
                        <c:v>1.83899943424711E-2</c:v>
                      </c:pt>
                      <c:pt idx="14">
                        <c:v>1.8177069090042141E-2</c:v>
                      </c:pt>
                      <c:pt idx="15">
                        <c:v>1.9876029504678802E-2</c:v>
                      </c:pt>
                      <c:pt idx="16">
                        <c:v>2.1729916422051129E-2</c:v>
                      </c:pt>
                      <c:pt idx="17">
                        <c:v>2.3953986088817551E-2</c:v>
                      </c:pt>
                      <c:pt idx="18">
                        <c:v>2.9994337517590137E-2</c:v>
                      </c:pt>
                      <c:pt idx="19">
                        <c:v>3.9696952676938825E-2</c:v>
                      </c:pt>
                      <c:pt idx="20">
                        <c:v>5.3803926343344619E-2</c:v>
                      </c:pt>
                      <c:pt idx="21">
                        <c:v>6.6439559353406841E-2</c:v>
                      </c:pt>
                      <c:pt idx="22">
                        <c:v>8.1565176997800332E-2</c:v>
                      </c:pt>
                      <c:pt idx="23">
                        <c:v>0.11180011509277778</c:v>
                      </c:pt>
                      <c:pt idx="24">
                        <c:v>0.14395230304555751</c:v>
                      </c:pt>
                      <c:pt idx="25">
                        <c:v>0.21365425594433154</c:v>
                      </c:pt>
                      <c:pt idx="26">
                        <c:v>0.31220921044658068</c:v>
                      </c:pt>
                      <c:pt idx="27">
                        <c:v>0.39619530039293205</c:v>
                      </c:pt>
                      <c:pt idx="28">
                        <c:v>0.3868389217282675</c:v>
                      </c:pt>
                      <c:pt idx="29">
                        <c:v>0.37772895237088028</c:v>
                      </c:pt>
                      <c:pt idx="30">
                        <c:v>0.34810513396258325</c:v>
                      </c:pt>
                      <c:pt idx="31">
                        <c:v>0.28729705928841853</c:v>
                      </c:pt>
                      <c:pt idx="32">
                        <c:v>0.24300179810738184</c:v>
                      </c:pt>
                      <c:pt idx="33">
                        <c:v>0.19176234994636693</c:v>
                      </c:pt>
                      <c:pt idx="34">
                        <c:v>0.16411649296461028</c:v>
                      </c:pt>
                      <c:pt idx="35">
                        <c:v>0.16300954406518361</c:v>
                      </c:pt>
                      <c:pt idx="36">
                        <c:v>0.16094751250532022</c:v>
                      </c:pt>
                      <c:pt idx="37">
                        <c:v>0.17251561783477798</c:v>
                      </c:pt>
                      <c:pt idx="38">
                        <c:v>0.18301730210201164</c:v>
                      </c:pt>
                      <c:pt idx="39" formatCode="General">
                        <c:v>9.5908103837364991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C835-49CD-8FF9-9A59E9E3ECB4}"/>
                  </c:ext>
                </c:extLst>
              </c15:ser>
            </c15:filteredLineSeries>
          </c:ext>
        </c:extLst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2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i="0" baseline="0" dirty="0">
                    <a:solidFill>
                      <a:schemeClr val="tx1"/>
                    </a:solidFill>
                    <a:effectLst/>
                  </a:rPr>
                  <a:t>Podíl potvrzených případů z počtu provedených testů </a:t>
                </a:r>
                <a:r>
                  <a:rPr lang="cs-CZ" sz="1200" b="1" i="0" u="sng" baseline="0" dirty="0">
                    <a:solidFill>
                      <a:schemeClr val="tx1"/>
                    </a:solidFill>
                    <a:effectLst/>
                  </a:rPr>
                  <a:t>v daném týdnu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5802020202020203E-2"/>
              <c:y val="0.25707326388888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703316498316499"/>
          <c:y val="0.17803541666666664"/>
          <c:w val="0.70125514621668827"/>
          <c:h val="9.5703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úmrtí</a:t>
            </a:r>
          </a:p>
          <a:p>
            <a:pPr>
              <a:defRPr sz="1300" b="1">
                <a:solidFill>
                  <a:schemeClr val="tx1"/>
                </a:solidFill>
              </a:defRPr>
            </a:pP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4308181818181817"/>
          <c:y val="0.27886527777777775"/>
          <c:w val="0.81467272727272744"/>
          <c:h val="0.424709722222222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3.1155218855218856E-2"/>
                  <c:y val="3.41753472222222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88-4FAC-9624-487B0E8BD1E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402382134403423</c:v>
                </c:pt>
                <c:pt idx="26">
                  <c:v>3.8339474350844904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961746088134598</c:v>
                </c:pt>
                <c:pt idx="30">
                  <c:v>1.5335789740337964</c:v>
                </c:pt>
                <c:pt idx="31">
                  <c:v>2.8614339393557415</c:v>
                </c:pt>
                <c:pt idx="32">
                  <c:v>3.6749788828980599</c:v>
                </c:pt>
                <c:pt idx="33">
                  <c:v>3.4318505089658728</c:v>
                </c:pt>
                <c:pt idx="34">
                  <c:v>3.2448286828641906</c:v>
                </c:pt>
                <c:pt idx="35">
                  <c:v>2.6276566567286386</c:v>
                </c:pt>
                <c:pt idx="36">
                  <c:v>1.9169737175422452</c:v>
                </c:pt>
                <c:pt idx="37">
                  <c:v>1.7299518914405627</c:v>
                </c:pt>
                <c:pt idx="38">
                  <c:v>1.7206008001354784</c:v>
                </c:pt>
                <c:pt idx="39">
                  <c:v>1.3091527827117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C48-45EF-814B-A31607E0E332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18C-44B5-9F08-08C2595A0CF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0.12358073147210266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0.10111150756808399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2691525417635462</c:v>
                </c:pt>
                <c:pt idx="10">
                  <c:v>0.46061909003238261</c:v>
                </c:pt>
                <c:pt idx="11">
                  <c:v>0.75271900078462528</c:v>
                </c:pt>
                <c:pt idx="12">
                  <c:v>0.75271900078462528</c:v>
                </c:pt>
                <c:pt idx="13">
                  <c:v>0.69654594102457867</c:v>
                </c:pt>
                <c:pt idx="14">
                  <c:v>0.69654594102457867</c:v>
                </c:pt>
                <c:pt idx="15">
                  <c:v>0.89876895616074659</c:v>
                </c:pt>
                <c:pt idx="16">
                  <c:v>0.89876895616074659</c:v>
                </c:pt>
                <c:pt idx="17">
                  <c:v>1.1346958071529427</c:v>
                </c:pt>
                <c:pt idx="18">
                  <c:v>1.7863033003694837</c:v>
                </c:pt>
                <c:pt idx="19">
                  <c:v>3.2018644063226596</c:v>
                </c:pt>
                <c:pt idx="20">
                  <c:v>3.6849527202590608</c:v>
                </c:pt>
                <c:pt idx="21">
                  <c:v>4.4826101688517239</c:v>
                </c:pt>
                <c:pt idx="22">
                  <c:v>4.5163140047077519</c:v>
                </c:pt>
                <c:pt idx="23">
                  <c:v>3.7074219441630798</c:v>
                </c:pt>
                <c:pt idx="24">
                  <c:v>2.5502569131061184</c:v>
                </c:pt>
                <c:pt idx="25">
                  <c:v>1.4380303298571946</c:v>
                </c:pt>
                <c:pt idx="26">
                  <c:v>1.1908688669129892</c:v>
                </c:pt>
                <c:pt idx="27">
                  <c:v>0.94370740396878394</c:v>
                </c:pt>
                <c:pt idx="28">
                  <c:v>0.78642283664065327</c:v>
                </c:pt>
                <c:pt idx="29">
                  <c:v>0.87629973225672797</c:v>
                </c:pt>
                <c:pt idx="30">
                  <c:v>1.1571650310569614</c:v>
                </c:pt>
                <c:pt idx="31">
                  <c:v>1.4942033896172413</c:v>
                </c:pt>
                <c:pt idx="32">
                  <c:v>1.9435878676976146</c:v>
                </c:pt>
                <c:pt idx="33">
                  <c:v>2.123341658929764</c:v>
                </c:pt>
                <c:pt idx="34">
                  <c:v>2.3592685099219599</c:v>
                </c:pt>
                <c:pt idx="35">
                  <c:v>2.4266761816340159</c:v>
                </c:pt>
                <c:pt idx="36">
                  <c:v>2.089637823073736</c:v>
                </c:pt>
                <c:pt idx="37">
                  <c:v>2.5502569131061184</c:v>
                </c:pt>
                <c:pt idx="38">
                  <c:v>2.7075414804342492</c:v>
                </c:pt>
                <c:pt idx="39">
                  <c:v>2.370503121873968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EC48-45EF-814B-A31607E0E3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735743471000934</c:v>
                      </c:pt>
                      <c:pt idx="1">
                        <c:v>8.6787173550046698E-2</c:v>
                      </c:pt>
                      <c:pt idx="2">
                        <c:v>6.0751021485032683E-2</c:v>
                      </c:pt>
                      <c:pt idx="3">
                        <c:v>9.5465890905051351E-2</c:v>
                      </c:pt>
                      <c:pt idx="4">
                        <c:v>0.18225306445509803</c:v>
                      </c:pt>
                      <c:pt idx="5">
                        <c:v>0.19961049916510737</c:v>
                      </c:pt>
                      <c:pt idx="6">
                        <c:v>0.1909317818101027</c:v>
                      </c:pt>
                      <c:pt idx="7">
                        <c:v>0.35582741155519143</c:v>
                      </c:pt>
                      <c:pt idx="8">
                        <c:v>0.2777189553601494</c:v>
                      </c:pt>
                      <c:pt idx="9">
                        <c:v>0.34714869420018679</c:v>
                      </c:pt>
                      <c:pt idx="10">
                        <c:v>0.41657843304022413</c:v>
                      </c:pt>
                      <c:pt idx="11">
                        <c:v>0.3384699768451821</c:v>
                      </c:pt>
                      <c:pt idx="12">
                        <c:v>0.46865073717025213</c:v>
                      </c:pt>
                      <c:pt idx="13">
                        <c:v>0.48600817188026146</c:v>
                      </c:pt>
                      <c:pt idx="14">
                        <c:v>0.53808047601028952</c:v>
                      </c:pt>
                      <c:pt idx="15">
                        <c:v>0.78976327930542489</c:v>
                      </c:pt>
                      <c:pt idx="16">
                        <c:v>0.93730147434050426</c:v>
                      </c:pt>
                      <c:pt idx="17">
                        <c:v>1.2931288858956957</c:v>
                      </c:pt>
                      <c:pt idx="18">
                        <c:v>1.3278437553157143</c:v>
                      </c:pt>
                      <c:pt idx="19">
                        <c:v>1.7010286015809153</c:v>
                      </c:pt>
                      <c:pt idx="20">
                        <c:v>2.256466512301214</c:v>
                      </c:pt>
                      <c:pt idx="21">
                        <c:v>2.5775790544363866</c:v>
                      </c:pt>
                      <c:pt idx="22">
                        <c:v>3.0375510742516338</c:v>
                      </c:pt>
                      <c:pt idx="23">
                        <c:v>2.6904023800514474</c:v>
                      </c:pt>
                      <c:pt idx="24">
                        <c:v>2.1696793387511675</c:v>
                      </c:pt>
                      <c:pt idx="25">
                        <c:v>1.8919603833910179</c:v>
                      </c:pt>
                      <c:pt idx="26">
                        <c:v>1.3452011900257237</c:v>
                      </c:pt>
                      <c:pt idx="27">
                        <c:v>1.128233256150607</c:v>
                      </c:pt>
                      <c:pt idx="28">
                        <c:v>1.206341712345649</c:v>
                      </c:pt>
                      <c:pt idx="29">
                        <c:v>1.5274542544808216</c:v>
                      </c:pt>
                      <c:pt idx="30">
                        <c:v>2.0047837090060785</c:v>
                      </c:pt>
                      <c:pt idx="31">
                        <c:v>2.6122939238564054</c:v>
                      </c:pt>
                      <c:pt idx="32">
                        <c:v>2.7858682709564988</c:v>
                      </c:pt>
                      <c:pt idx="33">
                        <c:v>2.334574968496256</c:v>
                      </c:pt>
                      <c:pt idx="34">
                        <c:v>1.3972734941557516</c:v>
                      </c:pt>
                      <c:pt idx="35">
                        <c:v>1.0154099305355462</c:v>
                      </c:pt>
                      <c:pt idx="36">
                        <c:v>1.1976629949906443</c:v>
                      </c:pt>
                      <c:pt idx="37">
                        <c:v>1.1455906908606164</c:v>
                      </c:pt>
                      <c:pt idx="38">
                        <c:v>1.3538799073807284</c:v>
                      </c:pt>
                      <c:pt idx="39">
                        <c:v>1.275771451185686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EC48-45EF-814B-A31607E0E332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3104565202226921</c:v>
                      </c:pt>
                      <c:pt idx="1">
                        <c:v>0.24509725280738848</c:v>
                      </c:pt>
                      <c:pt idx="2">
                        <c:v>0.18419429907949197</c:v>
                      </c:pt>
                      <c:pt idx="3">
                        <c:v>0.21835937068294611</c:v>
                      </c:pt>
                      <c:pt idx="4">
                        <c:v>0.44266049294910165</c:v>
                      </c:pt>
                      <c:pt idx="5">
                        <c:v>0.53772851828045243</c:v>
                      </c:pt>
                      <c:pt idx="6">
                        <c:v>0.71895194156833953</c:v>
                      </c:pt>
                      <c:pt idx="7">
                        <c:v>1.2626222114320014</c:v>
                      </c:pt>
                      <c:pt idx="8">
                        <c:v>1.1363599902888013</c:v>
                      </c:pt>
                      <c:pt idx="9">
                        <c:v>1.0442628407490551</c:v>
                      </c:pt>
                      <c:pt idx="10">
                        <c:v>0.94028218804289032</c:v>
                      </c:pt>
                      <c:pt idx="11">
                        <c:v>0.7531170131717938</c:v>
                      </c:pt>
                      <c:pt idx="12">
                        <c:v>0.62536935413279127</c:v>
                      </c:pt>
                      <c:pt idx="13">
                        <c:v>0.51247607405181228</c:v>
                      </c:pt>
                      <c:pt idx="14">
                        <c:v>0.37581578763799567</c:v>
                      </c:pt>
                      <c:pt idx="15">
                        <c:v>0.3104565202226921</c:v>
                      </c:pt>
                      <c:pt idx="16">
                        <c:v>0.30302933074368033</c:v>
                      </c:pt>
                      <c:pt idx="17">
                        <c:v>0.31342739601429681</c:v>
                      </c:pt>
                      <c:pt idx="18">
                        <c:v>0.35947597078416976</c:v>
                      </c:pt>
                      <c:pt idx="19">
                        <c:v>0.38027210132540279</c:v>
                      </c:pt>
                      <c:pt idx="20">
                        <c:v>0.49613625719798643</c:v>
                      </c:pt>
                      <c:pt idx="21">
                        <c:v>0.70855387629772315</c:v>
                      </c:pt>
                      <c:pt idx="22">
                        <c:v>0.97741813543794931</c:v>
                      </c:pt>
                      <c:pt idx="23">
                        <c:v>1.4007679357416203</c:v>
                      </c:pt>
                      <c:pt idx="24">
                        <c:v>1.6102146790497522</c:v>
                      </c:pt>
                      <c:pt idx="25">
                        <c:v>1.7795545991712207</c:v>
                      </c:pt>
                      <c:pt idx="26">
                        <c:v>2.0424771067282372</c:v>
                      </c:pt>
                      <c:pt idx="27">
                        <c:v>2.3039141763894517</c:v>
                      </c:pt>
                      <c:pt idx="28">
                        <c:v>2.360360816429941</c:v>
                      </c:pt>
                      <c:pt idx="29">
                        <c:v>2.6396231408407842</c:v>
                      </c:pt>
                      <c:pt idx="30">
                        <c:v>3.0986234506437116</c:v>
                      </c:pt>
                      <c:pt idx="31">
                        <c:v>3.1624972801632132</c:v>
                      </c:pt>
                      <c:pt idx="32">
                        <c:v>3.1907206001834574</c:v>
                      </c:pt>
                      <c:pt idx="33">
                        <c:v>2.7569727346091701</c:v>
                      </c:pt>
                      <c:pt idx="34">
                        <c:v>2.1791373931420543</c:v>
                      </c:pt>
                      <c:pt idx="35">
                        <c:v>1.7290497107139406</c:v>
                      </c:pt>
                      <c:pt idx="36">
                        <c:v>1.2967872830354554</c:v>
                      </c:pt>
                      <c:pt idx="37">
                        <c:v>1.2477678324739778</c:v>
                      </c:pt>
                      <c:pt idx="38">
                        <c:v>1.1378454281846035</c:v>
                      </c:pt>
                      <c:pt idx="39">
                        <c:v>1.22251538824533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EC48-45EF-814B-A31607E0E332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9677327970086864</c:v>
                      </c:pt>
                      <c:pt idx="1">
                        <c:v>0.21126233470231326</c:v>
                      </c:pt>
                      <c:pt idx="2">
                        <c:v>0.15425503803660967</c:v>
                      </c:pt>
                      <c:pt idx="3">
                        <c:v>0.13748818607610863</c:v>
                      </c:pt>
                      <c:pt idx="4">
                        <c:v>0.19449548274181222</c:v>
                      </c:pt>
                      <c:pt idx="5">
                        <c:v>0.2598862053877663</c:v>
                      </c:pt>
                      <c:pt idx="6">
                        <c:v>0.35545726156262231</c:v>
                      </c:pt>
                      <c:pt idx="7">
                        <c:v>0.53486257753998356</c:v>
                      </c:pt>
                      <c:pt idx="8">
                        <c:v>0.57342633704913593</c:v>
                      </c:pt>
                      <c:pt idx="9">
                        <c:v>0.70756115273314446</c:v>
                      </c:pt>
                      <c:pt idx="10">
                        <c:v>0.67738081920424253</c:v>
                      </c:pt>
                      <c:pt idx="11">
                        <c:v>0.65558391165559116</c:v>
                      </c:pt>
                      <c:pt idx="12">
                        <c:v>0.64887717087139074</c:v>
                      </c:pt>
                      <c:pt idx="13">
                        <c:v>0.56001285548073509</c:v>
                      </c:pt>
                      <c:pt idx="14">
                        <c:v>0.45270500293352844</c:v>
                      </c:pt>
                      <c:pt idx="15">
                        <c:v>0.40240444705202522</c:v>
                      </c:pt>
                      <c:pt idx="16">
                        <c:v>0.47785528087427998</c:v>
                      </c:pt>
                      <c:pt idx="17">
                        <c:v>0.45941174371772886</c:v>
                      </c:pt>
                      <c:pt idx="18">
                        <c:v>0.47785528087427998</c:v>
                      </c:pt>
                      <c:pt idx="19">
                        <c:v>0.65390722645954102</c:v>
                      </c:pt>
                      <c:pt idx="20">
                        <c:v>0.67402744881214238</c:v>
                      </c:pt>
                      <c:pt idx="21">
                        <c:v>0.83331254243690223</c:v>
                      </c:pt>
                      <c:pt idx="22">
                        <c:v>0.87355298714210494</c:v>
                      </c:pt>
                      <c:pt idx="23">
                        <c:v>1.0663717846878669</c:v>
                      </c:pt>
                      <c:pt idx="24">
                        <c:v>1.3581150088005851</c:v>
                      </c:pt>
                      <c:pt idx="25">
                        <c:v>1.626384640168602</c:v>
                      </c:pt>
                      <c:pt idx="26">
                        <c:v>1.735369177911859</c:v>
                      </c:pt>
                      <c:pt idx="27">
                        <c:v>2.3339457929017464</c:v>
                      </c:pt>
                      <c:pt idx="28">
                        <c:v>3.4640316150395178</c:v>
                      </c:pt>
                      <c:pt idx="29">
                        <c:v>4.0559014892452048</c:v>
                      </c:pt>
                      <c:pt idx="30">
                        <c:v>4.4029753248275769</c:v>
                      </c:pt>
                      <c:pt idx="31">
                        <c:v>4.3962685840433755</c:v>
                      </c:pt>
                      <c:pt idx="32">
                        <c:v>3.7624815799364359</c:v>
                      </c:pt>
                      <c:pt idx="33">
                        <c:v>3.3097765770029079</c:v>
                      </c:pt>
                      <c:pt idx="34">
                        <c:v>2.6340724429947153</c:v>
                      </c:pt>
                      <c:pt idx="35">
                        <c:v>2.2249612551584899</c:v>
                      </c:pt>
                      <c:pt idx="36">
                        <c:v>1.6448281773251534</c:v>
                      </c:pt>
                      <c:pt idx="37">
                        <c:v>1.5375203247779465</c:v>
                      </c:pt>
                      <c:pt idx="38">
                        <c:v>1.6716551404619548</c:v>
                      </c:pt>
                      <c:pt idx="39">
                        <c:v>1.68003856644220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C48-45EF-814B-A31607E0E332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t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7C88-4FAC-9624-487B0E8BD1E7}"/>
                      </c:ext>
                    </c:extLst>
                  </c:dLbl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7.1651377968593361E-2</c:v>
                      </c:pt>
                      <c:pt idx="1">
                        <c:v>0.11259502252207527</c:v>
                      </c:pt>
                      <c:pt idx="2">
                        <c:v>7.1651377968593361E-2</c:v>
                      </c:pt>
                      <c:pt idx="3">
                        <c:v>2.0471822276740961E-2</c:v>
                      </c:pt>
                      <c:pt idx="4">
                        <c:v>5.1179555691852403E-2</c:v>
                      </c:pt>
                      <c:pt idx="5">
                        <c:v>7.1651377968593361E-2</c:v>
                      </c:pt>
                      <c:pt idx="6">
                        <c:v>4.0943644553481921E-2</c:v>
                      </c:pt>
                      <c:pt idx="7">
                        <c:v>0.13306684479881625</c:v>
                      </c:pt>
                      <c:pt idx="8">
                        <c:v>7.1651377968593361E-2</c:v>
                      </c:pt>
                      <c:pt idx="9">
                        <c:v>0.15353866707555719</c:v>
                      </c:pt>
                      <c:pt idx="10">
                        <c:v>0.32754915642785537</c:v>
                      </c:pt>
                      <c:pt idx="11">
                        <c:v>0.40943644553481923</c:v>
                      </c:pt>
                      <c:pt idx="12">
                        <c:v>0.46061600122667157</c:v>
                      </c:pt>
                      <c:pt idx="13">
                        <c:v>0.71651377968593355</c:v>
                      </c:pt>
                      <c:pt idx="14">
                        <c:v>0.65509831285571074</c:v>
                      </c:pt>
                      <c:pt idx="15">
                        <c:v>1.218073425466087</c:v>
                      </c:pt>
                      <c:pt idx="16">
                        <c:v>2.12906951678106</c:v>
                      </c:pt>
                      <c:pt idx="17">
                        <c:v>4.0124771662412284</c:v>
                      </c:pt>
                      <c:pt idx="18">
                        <c:v>6.6840499733559238</c:v>
                      </c:pt>
                      <c:pt idx="19">
                        <c:v>8.9564222460741689</c:v>
                      </c:pt>
                      <c:pt idx="20">
                        <c:v>10.225675227232109</c:v>
                      </c:pt>
                      <c:pt idx="21">
                        <c:v>12.713001633856134</c:v>
                      </c:pt>
                      <c:pt idx="22">
                        <c:v>13.644469547447848</c:v>
                      </c:pt>
                      <c:pt idx="23">
                        <c:v>12.569698877918951</c:v>
                      </c:pt>
                      <c:pt idx="24">
                        <c:v>10.297326605200702</c:v>
                      </c:pt>
                      <c:pt idx="25">
                        <c:v>8.6493449119230554</c:v>
                      </c:pt>
                      <c:pt idx="26">
                        <c:v>6.4076803726199199</c:v>
                      </c:pt>
                      <c:pt idx="27">
                        <c:v>5.1588992137387217</c:v>
                      </c:pt>
                      <c:pt idx="28">
                        <c:v>4.3400263226690834</c:v>
                      </c:pt>
                      <c:pt idx="29">
                        <c:v>3.8794103214424118</c:v>
                      </c:pt>
                      <c:pt idx="30">
                        <c:v>4.7596986793422724</c:v>
                      </c:pt>
                      <c:pt idx="31">
                        <c:v>6.2029621498525103</c:v>
                      </c:pt>
                      <c:pt idx="32">
                        <c:v>6.9194759295384447</c:v>
                      </c:pt>
                      <c:pt idx="33">
                        <c:v>6.6431063288024417</c:v>
                      </c:pt>
                      <c:pt idx="34">
                        <c:v>6.1415466830222885</c:v>
                      </c:pt>
                      <c:pt idx="35">
                        <c:v>4.6163959234050864</c:v>
                      </c:pt>
                      <c:pt idx="36">
                        <c:v>3.1833683640332193</c:v>
                      </c:pt>
                      <c:pt idx="37">
                        <c:v>2.7329882739449181</c:v>
                      </c:pt>
                      <c:pt idx="38">
                        <c:v>2.3133159172717286</c:v>
                      </c:pt>
                      <c:pt idx="39">
                        <c:v>1.944823116290391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C48-45EF-814B-A31607E0E332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190380126971716</c:v>
                      </c:pt>
                      <c:pt idx="1">
                        <c:v>7.3346654288156232E-2</c:v>
                      </c:pt>
                      <c:pt idx="2">
                        <c:v>6.8537037613523033E-2</c:v>
                      </c:pt>
                      <c:pt idx="3">
                        <c:v>8.2965887637422617E-2</c:v>
                      </c:pt>
                      <c:pt idx="4">
                        <c:v>5.7715400095598349E-2</c:v>
                      </c:pt>
                      <c:pt idx="5">
                        <c:v>7.0941845950839633E-2</c:v>
                      </c:pt>
                      <c:pt idx="6">
                        <c:v>9.2585120986689015E-2</c:v>
                      </c:pt>
                      <c:pt idx="7">
                        <c:v>0.15511013775692056</c:v>
                      </c:pt>
                      <c:pt idx="8">
                        <c:v>0.1947894753226444</c:v>
                      </c:pt>
                      <c:pt idx="9">
                        <c:v>0.32585152970639902</c:v>
                      </c:pt>
                      <c:pt idx="10">
                        <c:v>0.394388567319922</c:v>
                      </c:pt>
                      <c:pt idx="11">
                        <c:v>0.52424821753501838</c:v>
                      </c:pt>
                      <c:pt idx="12">
                        <c:v>0.49899772999319397</c:v>
                      </c:pt>
                      <c:pt idx="13">
                        <c:v>0.46893762577673653</c:v>
                      </c:pt>
                      <c:pt idx="14">
                        <c:v>0.48216407163197783</c:v>
                      </c:pt>
                      <c:pt idx="15">
                        <c:v>0.54709389673952591</c:v>
                      </c:pt>
                      <c:pt idx="16">
                        <c:v>0.72144250119497932</c:v>
                      </c:pt>
                      <c:pt idx="17">
                        <c:v>1.0244483516968705</c:v>
                      </c:pt>
                      <c:pt idx="18">
                        <c:v>1.4392777898839837</c:v>
                      </c:pt>
                      <c:pt idx="19">
                        <c:v>1.8961913739741372</c:v>
                      </c:pt>
                      <c:pt idx="20">
                        <c:v>2.3795578497747734</c:v>
                      </c:pt>
                      <c:pt idx="21">
                        <c:v>2.980759934103923</c:v>
                      </c:pt>
                      <c:pt idx="22">
                        <c:v>3.3931845639537195</c:v>
                      </c:pt>
                      <c:pt idx="23">
                        <c:v>3.1707397927519336</c:v>
                      </c:pt>
                      <c:pt idx="24">
                        <c:v>3.0024032091397723</c:v>
                      </c:pt>
                      <c:pt idx="25">
                        <c:v>2.4348684415330553</c:v>
                      </c:pt>
                      <c:pt idx="26">
                        <c:v>1.8829649281188958</c:v>
                      </c:pt>
                      <c:pt idx="27">
                        <c:v>1.4669330857631246</c:v>
                      </c:pt>
                      <c:pt idx="28">
                        <c:v>1.118235876852218</c:v>
                      </c:pt>
                      <c:pt idx="29">
                        <c:v>1.025650755865529</c:v>
                      </c:pt>
                      <c:pt idx="30">
                        <c:v>1.0376747975521119</c:v>
                      </c:pt>
                      <c:pt idx="31">
                        <c:v>1.2456907187299975</c:v>
                      </c:pt>
                      <c:pt idx="32">
                        <c:v>1.5090172316661652</c:v>
                      </c:pt>
                      <c:pt idx="33">
                        <c:v>1.7519028737351416</c:v>
                      </c:pt>
                      <c:pt idx="34">
                        <c:v>1.6557105402424774</c:v>
                      </c:pt>
                      <c:pt idx="35">
                        <c:v>1.6064119693274874</c:v>
                      </c:pt>
                      <c:pt idx="36">
                        <c:v>1.476552319112391</c:v>
                      </c:pt>
                      <c:pt idx="37">
                        <c:v>1.4633258732571497</c:v>
                      </c:pt>
                      <c:pt idx="38">
                        <c:v>1.3887768148003352</c:v>
                      </c:pt>
                      <c:pt idx="39">
                        <c:v>0.7803603054592360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C48-45EF-814B-A31607E0E332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6169333655415153E-2</c:v>
                      </c:pt>
                      <c:pt idx="1">
                        <c:v>5.7446222436943431E-2</c:v>
                      </c:pt>
                      <c:pt idx="2">
                        <c:v>5.7446222436943431E-2</c:v>
                      </c:pt>
                      <c:pt idx="3">
                        <c:v>0.13787093384866425</c:v>
                      </c:pt>
                      <c:pt idx="4">
                        <c:v>0.16659404506713596</c:v>
                      </c:pt>
                      <c:pt idx="5">
                        <c:v>0.22978488974777372</c:v>
                      </c:pt>
                      <c:pt idx="6">
                        <c:v>0.22978488974777372</c:v>
                      </c:pt>
                      <c:pt idx="7">
                        <c:v>0.25276337872255111</c:v>
                      </c:pt>
                      <c:pt idx="8">
                        <c:v>0.25276337872255111</c:v>
                      </c:pt>
                      <c:pt idx="9">
                        <c:v>0.23552951199146807</c:v>
                      </c:pt>
                      <c:pt idx="10">
                        <c:v>0.183827911798219</c:v>
                      </c:pt>
                      <c:pt idx="11">
                        <c:v>0.25850800096624543</c:v>
                      </c:pt>
                      <c:pt idx="12">
                        <c:v>0.20680640077299639</c:v>
                      </c:pt>
                      <c:pt idx="13">
                        <c:v>0.183827911798219</c:v>
                      </c:pt>
                      <c:pt idx="14">
                        <c:v>0.12638168936127556</c:v>
                      </c:pt>
                      <c:pt idx="15">
                        <c:v>0.25276337872255111</c:v>
                      </c:pt>
                      <c:pt idx="16">
                        <c:v>0.3791450680838267</c:v>
                      </c:pt>
                      <c:pt idx="17">
                        <c:v>0.55722835763835132</c:v>
                      </c:pt>
                      <c:pt idx="18">
                        <c:v>0.86169333655415159</c:v>
                      </c:pt>
                      <c:pt idx="19">
                        <c:v>0.97658578142803831</c:v>
                      </c:pt>
                      <c:pt idx="20">
                        <c:v>1.3442416050244763</c:v>
                      </c:pt>
                      <c:pt idx="21">
                        <c:v>2.0048731630493259</c:v>
                      </c:pt>
                      <c:pt idx="22">
                        <c:v>2.0048731630493259</c:v>
                      </c:pt>
                      <c:pt idx="23">
                        <c:v>2.5448676539565942</c:v>
                      </c:pt>
                      <c:pt idx="24">
                        <c:v>2.0335962742677975</c:v>
                      </c:pt>
                      <c:pt idx="25">
                        <c:v>1.4361555609235859</c:v>
                      </c:pt>
                      <c:pt idx="26">
                        <c:v>1.3959432052177254</c:v>
                      </c:pt>
                      <c:pt idx="27">
                        <c:v>0.70084391373070987</c:v>
                      </c:pt>
                      <c:pt idx="28">
                        <c:v>0.42510204603338148</c:v>
                      </c:pt>
                      <c:pt idx="29">
                        <c:v>0.30446497891580021</c:v>
                      </c:pt>
                      <c:pt idx="30">
                        <c:v>0.33893271237796624</c:v>
                      </c:pt>
                      <c:pt idx="31">
                        <c:v>0.34467733462166061</c:v>
                      </c:pt>
                      <c:pt idx="32">
                        <c:v>0.41361280154599278</c:v>
                      </c:pt>
                      <c:pt idx="33">
                        <c:v>0.49978213520140785</c:v>
                      </c:pt>
                      <c:pt idx="34">
                        <c:v>0.3791450680838267</c:v>
                      </c:pt>
                      <c:pt idx="35">
                        <c:v>0.33318809013427192</c:v>
                      </c:pt>
                      <c:pt idx="36">
                        <c:v>0.59169609110051746</c:v>
                      </c:pt>
                      <c:pt idx="37">
                        <c:v>0.49403751295771353</c:v>
                      </c:pt>
                      <c:pt idx="38">
                        <c:v>0.59744071334421178</c:v>
                      </c:pt>
                      <c:pt idx="39">
                        <c:v>0.6663761802685438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C48-45EF-814B-A31607E0E332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792550045526469</c:v>
                      </c:pt>
                      <c:pt idx="1">
                        <c:v>0.20812401282697271</c:v>
                      </c:pt>
                      <c:pt idx="2">
                        <c:v>0.1448964646263734</c:v>
                      </c:pt>
                      <c:pt idx="3">
                        <c:v>7.113099172567422E-2</c:v>
                      </c:pt>
                      <c:pt idx="4">
                        <c:v>5.795858585054936E-2</c:v>
                      </c:pt>
                      <c:pt idx="5">
                        <c:v>6.8496510550649245E-2</c:v>
                      </c:pt>
                      <c:pt idx="6">
                        <c:v>4.4786179975424507E-2</c:v>
                      </c:pt>
                      <c:pt idx="7">
                        <c:v>4.4786179975424507E-2</c:v>
                      </c:pt>
                      <c:pt idx="8">
                        <c:v>6.3227548200599309E-2</c:v>
                      </c:pt>
                      <c:pt idx="9">
                        <c:v>9.7475803475923925E-2</c:v>
                      </c:pt>
                      <c:pt idx="10">
                        <c:v>0.12118613405114867</c:v>
                      </c:pt>
                      <c:pt idx="11">
                        <c:v>0.16333783285154821</c:v>
                      </c:pt>
                      <c:pt idx="12">
                        <c:v>0.22129641870209754</c:v>
                      </c:pt>
                      <c:pt idx="13">
                        <c:v>0.32404118452807146</c:v>
                      </c:pt>
                      <c:pt idx="14">
                        <c:v>0.45839972445434496</c:v>
                      </c:pt>
                      <c:pt idx="15">
                        <c:v>0.64808236905614292</c:v>
                      </c:pt>
                      <c:pt idx="16">
                        <c:v>0.87464775010829032</c:v>
                      </c:pt>
                      <c:pt idx="17">
                        <c:v>1.4911163450641336</c:v>
                      </c:pt>
                      <c:pt idx="18">
                        <c:v>1.973226400093703</c:v>
                      </c:pt>
                      <c:pt idx="19">
                        <c:v>2.9453499536779173</c:v>
                      </c:pt>
                      <c:pt idx="20">
                        <c:v>5.1978313583242679</c:v>
                      </c:pt>
                      <c:pt idx="21">
                        <c:v>5.8643550956055854</c:v>
                      </c:pt>
                      <c:pt idx="22">
                        <c:v>6.9655682267660222</c:v>
                      </c:pt>
                      <c:pt idx="23">
                        <c:v>7.400257620645144</c:v>
                      </c:pt>
                      <c:pt idx="24">
                        <c:v>7.9192504121250629</c:v>
                      </c:pt>
                      <c:pt idx="25">
                        <c:v>7.4792920558958924</c:v>
                      </c:pt>
                      <c:pt idx="26">
                        <c:v>8.6042155176315553</c:v>
                      </c:pt>
                      <c:pt idx="27">
                        <c:v>5.6904793380539367</c:v>
                      </c:pt>
                      <c:pt idx="28">
                        <c:v>6.7548097327640244</c:v>
                      </c:pt>
                      <c:pt idx="29">
                        <c:v>4.0491975660133805</c:v>
                      </c:pt>
                      <c:pt idx="30">
                        <c:v>3.4696117075078865</c:v>
                      </c:pt>
                      <c:pt idx="31">
                        <c:v>3.7172529379602337</c:v>
                      </c:pt>
                      <c:pt idx="32">
                        <c:v>4.0307561977882056</c:v>
                      </c:pt>
                      <c:pt idx="33">
                        <c:v>4.4680800728423504</c:v>
                      </c:pt>
                      <c:pt idx="34">
                        <c:v>3.9543562437124811</c:v>
                      </c:pt>
                      <c:pt idx="35">
                        <c:v>3.2483152888057893</c:v>
                      </c:pt>
                      <c:pt idx="36">
                        <c:v>2.3552261704723243</c:v>
                      </c:pt>
                      <c:pt idx="37">
                        <c:v>2.0469918729944023</c:v>
                      </c:pt>
                      <c:pt idx="38">
                        <c:v>1.6017645544151824</c:v>
                      </c:pt>
                      <c:pt idx="39">
                        <c:v>1.36202676748791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C48-45EF-814B-A31607E0E332}"/>
                  </c:ext>
                </c:extLst>
              </c15:ser>
            </c15:filteredLineSeries>
            <c15:filteredLineSeries>
              <c15:ser>
                <c:idx val="12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Slovensk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0.00000</c:formatCode>
                      <c:ptCount val="40"/>
                      <c:pt idx="0" formatCode="General">
                        <c:v>7.3288623608500969E-2</c:v>
                      </c:pt>
                      <c:pt idx="1">
                        <c:v>0.14657724721700194</c:v>
                      </c:pt>
                      <c:pt idx="2" formatCode="General">
                        <c:v>0.10993293541275144</c:v>
                      </c:pt>
                      <c:pt idx="3" formatCode="General">
                        <c:v>0.1282550913148767</c:v>
                      </c:pt>
                      <c:pt idx="4" formatCode="General">
                        <c:v>0.10993293541275144</c:v>
                      </c:pt>
                      <c:pt idx="5" formatCode="General">
                        <c:v>1.8322155902125242E-2</c:v>
                      </c:pt>
                      <c:pt idx="6" formatCode="General">
                        <c:v>5.496646770637572E-2</c:v>
                      </c:pt>
                      <c:pt idx="7" formatCode="General">
                        <c:v>5.496646770637572E-2</c:v>
                      </c:pt>
                      <c:pt idx="8" formatCode="General">
                        <c:v>1.8322155902125242E-2</c:v>
                      </c:pt>
                      <c:pt idx="9" formatCode="General">
                        <c:v>5.496646770637572E-2</c:v>
                      </c:pt>
                      <c:pt idx="10" formatCode="General">
                        <c:v>0.16489940311912718</c:v>
                      </c:pt>
                      <c:pt idx="11" formatCode="General">
                        <c:v>0.23818802672762815</c:v>
                      </c:pt>
                      <c:pt idx="12" formatCode="General">
                        <c:v>0.42140958574888054</c:v>
                      </c:pt>
                      <c:pt idx="13" formatCode="General">
                        <c:v>1.4657724721700194</c:v>
                      </c:pt>
                      <c:pt idx="14" formatCode="General">
                        <c:v>1.0810071982253893</c:v>
                      </c:pt>
                      <c:pt idx="15" formatCode="General">
                        <c:v>2.1803365523529039</c:v>
                      </c:pt>
                      <c:pt idx="16" formatCode="General">
                        <c:v>1.1542958218338903</c:v>
                      </c:pt>
                      <c:pt idx="17" formatCode="General">
                        <c:v>2.345235955472031</c:v>
                      </c:pt>
                      <c:pt idx="18" formatCode="General">
                        <c:v>4.1041629220760543</c:v>
                      </c:pt>
                      <c:pt idx="19" formatCode="General">
                        <c:v>6.0279892917992042</c:v>
                      </c:pt>
                      <c:pt idx="20" formatCode="General">
                        <c:v>5.8814120445822029</c:v>
                      </c:pt>
                      <c:pt idx="21" formatCode="General">
                        <c:v>7.7319497906968531</c:v>
                      </c:pt>
                      <c:pt idx="22" formatCode="General">
                        <c:v>10.242085149288009</c:v>
                      </c:pt>
                      <c:pt idx="23" formatCode="General">
                        <c:v>9.4359102895944993</c:v>
                      </c:pt>
                      <c:pt idx="24" formatCode="General">
                        <c:v>11.964367804087782</c:v>
                      </c:pt>
                      <c:pt idx="25" formatCode="General">
                        <c:v>6.9074527751012162</c:v>
                      </c:pt>
                      <c:pt idx="26" formatCode="General">
                        <c:v>5.4050359911269457</c:v>
                      </c:pt>
                      <c:pt idx="27" formatCode="General">
                        <c:v>4.5622168196291852</c:v>
                      </c:pt>
                      <c:pt idx="28" formatCode="General">
                        <c:v>6.6509425924714627</c:v>
                      </c:pt>
                      <c:pt idx="29" formatCode="General">
                        <c:v>5.9180563563864537</c:v>
                      </c:pt>
                      <c:pt idx="30" formatCode="General">
                        <c:v>2.8399341648294123</c:v>
                      </c:pt>
                      <c:pt idx="31" formatCode="General">
                        <c:v>2.6200682940039095</c:v>
                      </c:pt>
                      <c:pt idx="32" formatCode="General">
                        <c:v>2.4185245790805316</c:v>
                      </c:pt>
                      <c:pt idx="33" formatCode="General">
                        <c:v>2.6933569176124106</c:v>
                      </c:pt>
                      <c:pt idx="34" formatCode="General">
                        <c:v>4.2690623251951809</c:v>
                      </c:pt>
                      <c:pt idx="35" formatCode="General">
                        <c:v>4.0125521425654282</c:v>
                      </c:pt>
                      <c:pt idx="36" formatCode="General">
                        <c:v>4.5072503519228091</c:v>
                      </c:pt>
                      <c:pt idx="37" formatCode="General">
                        <c:v>3.352954530088919</c:v>
                      </c:pt>
                      <c:pt idx="38" formatCode="General">
                        <c:v>2.9132227884379134</c:v>
                      </c:pt>
                      <c:pt idx="39" formatCode="General">
                        <c:v>2.71167907351453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EC48-45EF-814B-A31607E0E332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880310265560233</c:v>
                      </c:pt>
                      <c:pt idx="1">
                        <c:v>0.18591831839247247</c:v>
                      </c:pt>
                      <c:pt idx="2">
                        <c:v>0.35704767964008921</c:v>
                      </c:pt>
                      <c:pt idx="3">
                        <c:v>0.80071639398576211</c:v>
                      </c:pt>
                      <c:pt idx="4">
                        <c:v>1.1767784470978087</c:v>
                      </c:pt>
                      <c:pt idx="5">
                        <c:v>1.4619940491771699</c:v>
                      </c:pt>
                      <c:pt idx="6">
                        <c:v>1.6838284063500064</c:v>
                      </c:pt>
                      <c:pt idx="7">
                        <c:v>1.5021355042846356</c:v>
                      </c:pt>
                      <c:pt idx="8">
                        <c:v>1.3394569756912222</c:v>
                      </c:pt>
                      <c:pt idx="9">
                        <c:v>1.138749700153894</c:v>
                      </c:pt>
                      <c:pt idx="10">
                        <c:v>0.88522472052779499</c:v>
                      </c:pt>
                      <c:pt idx="11">
                        <c:v>0.74367327356988988</c:v>
                      </c:pt>
                      <c:pt idx="12">
                        <c:v>0.49648641843444352</c:v>
                      </c:pt>
                      <c:pt idx="13">
                        <c:v>0.3760620531120466</c:v>
                      </c:pt>
                      <c:pt idx="14">
                        <c:v>0.30211726738776779</c:v>
                      </c:pt>
                      <c:pt idx="15">
                        <c:v>0.25775039595320048</c:v>
                      </c:pt>
                      <c:pt idx="16">
                        <c:v>0.24718685513544633</c:v>
                      </c:pt>
                      <c:pt idx="17">
                        <c:v>0.20704540002798072</c:v>
                      </c:pt>
                      <c:pt idx="18">
                        <c:v>0.20493269186442992</c:v>
                      </c:pt>
                      <c:pt idx="19">
                        <c:v>0.3316951816774793</c:v>
                      </c:pt>
                      <c:pt idx="20">
                        <c:v>0.31479351636907271</c:v>
                      </c:pt>
                      <c:pt idx="21">
                        <c:v>0.38451288576624992</c:v>
                      </c:pt>
                      <c:pt idx="22">
                        <c:v>0.5788820368129256</c:v>
                      </c:pt>
                      <c:pt idx="23">
                        <c:v>0.69930640213532258</c:v>
                      </c:pt>
                      <c:pt idx="24">
                        <c:v>0.99086012870533613</c:v>
                      </c:pt>
                      <c:pt idx="25">
                        <c:v>1.1641021981165038</c:v>
                      </c:pt>
                      <c:pt idx="26">
                        <c:v>1.4514305083594157</c:v>
                      </c:pt>
                      <c:pt idx="27">
                        <c:v>1.8929865145415379</c:v>
                      </c:pt>
                      <c:pt idx="28">
                        <c:v>2.6387724962749783</c:v>
                      </c:pt>
                      <c:pt idx="29">
                        <c:v>3.0824412106206514</c:v>
                      </c:pt>
                      <c:pt idx="30">
                        <c:v>3.4373761820971898</c:v>
                      </c:pt>
                      <c:pt idx="31">
                        <c:v>3.3592059800458096</c:v>
                      </c:pt>
                      <c:pt idx="32">
                        <c:v>2.7908874840506379</c:v>
                      </c:pt>
                      <c:pt idx="33">
                        <c:v>1.857070475761174</c:v>
                      </c:pt>
                      <c:pt idx="34">
                        <c:v>1.2887519797660023</c:v>
                      </c:pt>
                      <c:pt idx="35">
                        <c:v>1.0584667899389626</c:v>
                      </c:pt>
                      <c:pt idx="36">
                        <c:v>0.86621034705583755</c:v>
                      </c:pt>
                      <c:pt idx="37">
                        <c:v>0.60845995110263718</c:v>
                      </c:pt>
                      <c:pt idx="38">
                        <c:v>0.3338078898410301</c:v>
                      </c:pt>
                      <c:pt idx="39">
                        <c:v>1.9014373471957412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EC48-45EF-814B-A31607E0E332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B-EC48-45EF-814B-A31607E0E332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4831081426067519</c:v>
                      </c:pt>
                      <c:pt idx="1">
                        <c:v>0.37760875304729896</c:v>
                      </c:pt>
                      <c:pt idx="2">
                        <c:v>0.52306893418225076</c:v>
                      </c:pt>
                      <c:pt idx="3">
                        <c:v>0.73464737946945324</c:v>
                      </c:pt>
                      <c:pt idx="4">
                        <c:v>0.893331213434855</c:v>
                      </c:pt>
                      <c:pt idx="5">
                        <c:v>0.89039262391697738</c:v>
                      </c:pt>
                      <c:pt idx="6">
                        <c:v>0.95063370903347244</c:v>
                      </c:pt>
                      <c:pt idx="7">
                        <c:v>1.0960938901684243</c:v>
                      </c:pt>
                      <c:pt idx="8">
                        <c:v>1.2180453551603534</c:v>
                      </c:pt>
                      <c:pt idx="9">
                        <c:v>1.335588935875466</c:v>
                      </c:pt>
                      <c:pt idx="10">
                        <c:v>1.5104350121891958</c:v>
                      </c:pt>
                      <c:pt idx="11">
                        <c:v>1.4487246323137617</c:v>
                      </c:pt>
                      <c:pt idx="12">
                        <c:v>1.3150188092503212</c:v>
                      </c:pt>
                      <c:pt idx="13">
                        <c:v>1.1710279228743086</c:v>
                      </c:pt>
                      <c:pt idx="14">
                        <c:v>1.148988501490225</c:v>
                      </c:pt>
                      <c:pt idx="15">
                        <c:v>1.337058230634405</c:v>
                      </c:pt>
                      <c:pt idx="16">
                        <c:v>1.4972113593587457</c:v>
                      </c:pt>
                      <c:pt idx="17">
                        <c:v>1.7322985207889707</c:v>
                      </c:pt>
                      <c:pt idx="18">
                        <c:v>1.6867503832618647</c:v>
                      </c:pt>
                      <c:pt idx="19">
                        <c:v>1.4766412327336012</c:v>
                      </c:pt>
                      <c:pt idx="20">
                        <c:v>1.3914221367151445</c:v>
                      </c:pt>
                      <c:pt idx="21">
                        <c:v>1.2797557350357875</c:v>
                      </c:pt>
                      <c:pt idx="22">
                        <c:v>1.2283304184729258</c:v>
                      </c:pt>
                      <c:pt idx="23">
                        <c:v>1.1960059337762698</c:v>
                      </c:pt>
                      <c:pt idx="24">
                        <c:v>1.1519270910081025</c:v>
                      </c:pt>
                      <c:pt idx="25">
                        <c:v>1.2062909970888422</c:v>
                      </c:pt>
                      <c:pt idx="26">
                        <c:v>0</c:v>
                      </c:pt>
                      <c:pt idx="27">
                        <c:v>2.3640952671327007</c:v>
                      </c:pt>
                      <c:pt idx="28">
                        <c:v>2.8166380528858839</c:v>
                      </c:pt>
                      <c:pt idx="29">
                        <c:v>2.7152567145190991</c:v>
                      </c:pt>
                      <c:pt idx="30">
                        <c:v>1.7837238373518325</c:v>
                      </c:pt>
                      <c:pt idx="31">
                        <c:v>2.1657404746759479</c:v>
                      </c:pt>
                      <c:pt idx="32">
                        <c:v>1.8909823547543727</c:v>
                      </c:pt>
                      <c:pt idx="33">
                        <c:v>1.4340316847243728</c:v>
                      </c:pt>
                      <c:pt idx="34">
                        <c:v>1.1460499119723471</c:v>
                      </c:pt>
                      <c:pt idx="35">
                        <c:v>1.1548656805259805</c:v>
                      </c:pt>
                      <c:pt idx="36">
                        <c:v>1.3693827153310609</c:v>
                      </c:pt>
                      <c:pt idx="37">
                        <c:v>0.86247602349713814</c:v>
                      </c:pt>
                      <c:pt idx="38">
                        <c:v>1.1578042700438582</c:v>
                      </c:pt>
                      <c:pt idx="39">
                        <c:v>1.94828485035298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EC48-45EF-814B-A31607E0E332}"/>
                  </c:ext>
                </c:extLst>
              </c15:ser>
            </c15:filteredLineSeries>
          </c:ext>
        </c:extLst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2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7 denní kumulativní počet úmrtí na 100 tisíc osob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7288047138047141E-2"/>
              <c:y val="0.270045833333333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72676767676771"/>
          <c:y val="0.16480624999999999"/>
          <c:w val="0.70125514621668827"/>
          <c:h val="9.5703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Srovnání podílů osob s vykázaným úplným očkováním a osob s vykázaným očkováním posilující dávkou k 6.4. 2022</a:t>
            </a:r>
            <a:endParaRPr lang="cs-CZ" sz="13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7620336700336697"/>
          <c:y val="3.08680555555555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429747474747476"/>
          <c:y val="0.19432152777777778"/>
          <c:w val="0.77783215488215485"/>
          <c:h val="0.5688368055555556"/>
        </c:manualLayout>
      </c:layout>
      <c:scatterChart>
        <c:scatterStyle val="lineMarker"/>
        <c:varyColors val="0"/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  <c:extLst xmlns:c15="http://schemas.microsoft.com/office/drawing/2012/chart"/>
            </c:strRef>
          </c:tx>
          <c:spPr>
            <a:ln w="25400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1"/>
              <c:showCatName val="1"/>
              <c:showSerName val="1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7600000000000005</c:v>
                </c:pt>
              </c:numCache>
              <c:extLst xmlns:c15="http://schemas.microsoft.com/office/drawing/2012/chart"/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299999999999996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3-BDC7-4A4B-8526-DEF59504DBF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600000000000003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BDC7-4A4B-8526-DEF59504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C$3</c15:sqref>
                        </c15:formulaRef>
                      </c:ext>
                    </c:extLst>
                    <c:strCache>
                      <c:ptCount val="1"/>
                      <c:pt idx="0">
                        <c:v>B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0070C0"/>
                    </a:solidFill>
                    <a:ln w="9525">
                      <a:solidFill>
                        <a:srgbClr val="0070C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6.565258394820952E-3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>
                      <c:ext uri="{02D57815-91ED-43cb-92C2-25804820EDAC}">
                        <c15:formulaRef>
                          <c15:sqref>List1!$B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List1!$A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9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BDC7-4A4B-8526-DEF59504DBFC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4</c15:sqref>
                        </c15:formulaRef>
                      </c:ext>
                    </c:extLst>
                    <c:strCache>
                      <c:ptCount val="1"/>
                      <c:pt idx="0">
                        <c:v>BG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47606396832839E-2"/>
                        <c:y val="2.333186360964096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2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51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DC7-4A4B-8526-DEF59504DBFC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5</c15:sqref>
                        </c15:formulaRef>
                      </c:ext>
                    </c:extLst>
                    <c:strCache>
                      <c:ptCount val="1"/>
                      <c:pt idx="0">
                        <c:v>H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127526924636813E-2"/>
                        <c:y val="4.6663727219282778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26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6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BDC7-4A4B-8526-DEF59504DBFC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6</c15:sqref>
                        </c15:formulaRef>
                      </c:ext>
                    </c:extLst>
                    <c:strCache>
                      <c:ptCount val="1"/>
                      <c:pt idx="0">
                        <c:v>CY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5096810823816598E-2"/>
                        <c:y val="-1.8665490887713111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8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DC7-4A4B-8526-DEF59504DBFC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8</c15:sqref>
                        </c15:formulaRef>
                      </c:ext>
                    </c:extLst>
                    <c:strCache>
                      <c:ptCount val="1"/>
                      <c:pt idx="0">
                        <c:v>DK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023962857688971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4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3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BDC7-4A4B-8526-DEF59504DBFC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9</c15:sqref>
                        </c15:formulaRef>
                      </c:ext>
                    </c:extLst>
                    <c:strCache>
                      <c:ptCount val="1"/>
                      <c:pt idx="0">
                        <c:v>E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196545869262337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119999999999999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0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DC7-4A4B-8526-DEF59504DBFC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0</c15:sqref>
                        </c15:formulaRef>
                      </c:ext>
                    </c:extLst>
                    <c:strCache>
                      <c:ptCount val="1"/>
                      <c:pt idx="0">
                        <c:v>F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758208085816809E-2"/>
                        <c:y val="-4.666372721928277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42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70000000000000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BDC7-4A4B-8526-DEF59504DBFC}"/>
                  </c:ext>
                </c:extLst>
              </c15:ser>
            </c15:filteredScatterSeries>
            <c15:filteredScatte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1</c15:sqref>
                        </c15:formulaRef>
                      </c:ext>
                    </c:extLst>
                    <c:strCache>
                      <c:ptCount val="1"/>
                      <c:pt idx="0">
                        <c:v>F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</a:schemeClr>
                    </a:solidFill>
                    <a:ln w="9525">
                      <a:solidFill>
                        <a:schemeClr val="accent4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051377057258783E-3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5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BDC7-4A4B-8526-DEF59504DBFC}"/>
                  </c:ext>
                </c:extLst>
              </c15:ser>
            </c15:filteredScatterSeries>
            <c15:filteredScatte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2</c15:sqref>
                        </c15:formulaRef>
                      </c:ext>
                    </c:extLst>
                    <c:strCache>
                      <c:ptCount val="1"/>
                      <c:pt idx="0">
                        <c:v>DE</c:v>
                      </c:pt>
                    </c:strCache>
                  </c:strRef>
                </c:tx>
                <c:spPr>
                  <a:ln w="25400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FFC000"/>
                    </a:solidFill>
                    <a:ln w="9525">
                      <a:solidFill>
                        <a:srgbClr val="FFC00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0779589409237369E-2"/>
                        <c:y val="2.9982363315696433E-3"/>
                      </c:manualLayout>
                    </c:layout>
                    <c:dLblPos val="r"/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1"/>
                  <c:showCatName val="1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029999999999999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09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5-BDC7-4A4B-8526-DEF59504DBFC}"/>
                  </c:ext>
                </c:extLst>
              </c15:ser>
            </c15:filteredScatterSeries>
            <c15:filteredScatte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3</c15:sqref>
                        </c15:formulaRef>
                      </c:ext>
                    </c:extLst>
                    <c:strCache>
                      <c:ptCount val="1"/>
                      <c:pt idx="0">
                        <c:v>E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60000"/>
                      </a:schemeClr>
                    </a:solidFill>
                    <a:ln w="9525">
                      <a:solidFill>
                        <a:schemeClr val="accent6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3195552404790468E-2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8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17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7-BDC7-4A4B-8526-DEF59504DBFC}"/>
                  </c:ext>
                </c:extLst>
              </c15:ser>
            </c15:filteredScatterSeries>
            <c15:filteredScatte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4</c15:sqref>
                        </c15:formulaRef>
                      </c:ext>
                    </c:extLst>
                    <c:strCache>
                      <c:ptCount val="1"/>
                      <c:pt idx="0">
                        <c:v>HU</c:v>
                      </c:pt>
                    </c:strCache>
                  </c:strRef>
                </c:tx>
                <c:spPr>
                  <a:ln w="25400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50000"/>
                      </a:schemeClr>
                    </a:solidFill>
                    <a:ln w="9525">
                      <a:solidFill>
                        <a:schemeClr val="accent2">
                          <a:lumMod val="5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7663468013468012E-2"/>
                        <c:y val="3.9687500000000001E-2"/>
                      </c:manualLayout>
                    </c:layout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67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9-BDC7-4A4B-8526-DEF59504DBFC}"/>
                  </c:ext>
                </c:extLst>
              </c15:ser>
            </c15:filteredScatterSeries>
            <c15:filteredScatte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5</c15:sqref>
                        </c15:formulaRef>
                      </c:ext>
                    </c:extLst>
                    <c:strCache>
                      <c:ptCount val="1"/>
                      <c:pt idx="0">
                        <c:v>I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863250904636667E-3"/>
                        <c:y val="0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4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B-BDC7-4A4B-8526-DEF59504DBFC}"/>
                  </c:ext>
                </c:extLst>
              </c15:ser>
            </c15:filteredScatterSeries>
            <c15:filteredScatte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6</c15:sqref>
                        </c15:formulaRef>
                      </c:ext>
                    </c:extLst>
                    <c:strCache>
                      <c:ptCount val="1"/>
                      <c:pt idx="0">
                        <c:v>I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255382592350299E-2"/>
                        <c:y val="-2.333186360964138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6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D-BDC7-4A4B-8526-DEF59504DBFC}"/>
                  </c:ext>
                </c:extLst>
              </c15:ser>
            </c15:filteredScatterSeries>
            <c15:filteredScatte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7</c15:sqref>
                        </c15:formulaRef>
                      </c:ext>
                    </c:extLst>
                    <c:strCache>
                      <c:ptCount val="1"/>
                      <c:pt idx="0">
                        <c:v>I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0286409019268361E-2"/>
                        <c:y val="1.3334251910640778E-2"/>
                      </c:manualLayout>
                    </c:layout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4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7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F-BDC7-4A4B-8526-DEF59504DBFC}"/>
                  </c:ext>
                </c:extLst>
              </c15:ser>
            </c15:filteredScatterSeries>
            <c15:filteredScatte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8</c15:sqref>
                        </c15:formulaRef>
                      </c:ext>
                    </c:extLst>
                    <c:strCache>
                      <c:ptCount val="1"/>
                      <c:pt idx="0">
                        <c:v>LV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6253773343027682E-2"/>
                        <c:y val="1.6332304526748928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33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1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1-BDC7-4A4B-8526-DEF59504DBFC}"/>
                  </c:ext>
                </c:extLst>
              </c15:ser>
            </c15:filteredScatterSeries>
            <c15:filteredScatterSeries>
              <c15:ser>
                <c:idx val="2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9</c15:sqref>
                        </c15:formulaRef>
                      </c:ext>
                    </c:extLst>
                    <c:strCache>
                      <c:ptCount val="1"/>
                      <c:pt idx="0">
                        <c:v>LI</c:v>
                      </c:pt>
                    </c:strCache>
                  </c:strRef>
                </c:tx>
                <c:spPr>
                  <a:ln w="25400" cap="rnd">
                    <a:solidFill>
                      <a:schemeClr val="accent1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75000"/>
                      </a:schemeClr>
                    </a:solidFill>
                    <a:ln w="9525">
                      <a:solidFill>
                        <a:schemeClr val="accent1">
                          <a:lumMod val="75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9.7388985409937612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620000000000000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7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3-BDC7-4A4B-8526-DEF59504DBFC}"/>
                  </c:ext>
                </c:extLst>
              </c15:ser>
            </c15:filteredScatterSeries>
            <c15:filteredScatterSeries>
              <c15:ser>
                <c:idx val="17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0</c15:sqref>
                        </c15:formulaRef>
                      </c:ext>
                    </c:extLst>
                    <c:strCache>
                      <c:ptCount val="1"/>
                      <c:pt idx="0">
                        <c:v>L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431493902467101E-2"/>
                        <c:y val="-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83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1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5-BDC7-4A4B-8526-DEF59504DBFC}"/>
                  </c:ext>
                </c:extLst>
              </c15:ser>
            </c15:filteredScatterSeries>
            <c15:filteredScatterSeries>
              <c15:ser>
                <c:idx val="18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1</c15:sqref>
                        </c15:formulaRef>
                      </c:ext>
                    </c:extLst>
                    <c:strCache>
                      <c:ptCount val="1"/>
                      <c:pt idx="0">
                        <c:v>LU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80000"/>
                      </a:schemeClr>
                    </a:solidFill>
                    <a:ln w="9525">
                      <a:solidFill>
                        <a:schemeClr val="accent1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6428891188672612E-2"/>
                        <c:y val="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1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30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7-BDC7-4A4B-8526-DEF59504DBFC}"/>
                  </c:ext>
                </c:extLst>
              </c15:ser>
            </c15:filteredScatterSeries>
            <c15:filteredScatterSeries>
              <c15:ser>
                <c:idx val="19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2</c15:sqref>
                        </c15:formulaRef>
                      </c:ext>
                    </c:extLst>
                    <c:strCache>
                      <c:ptCount val="1"/>
                      <c:pt idx="0">
                        <c:v>M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</a:schemeClr>
                    </a:solidFill>
                    <a:ln w="9525">
                      <a:solidFill>
                        <a:schemeClr val="accent2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9332452914033097E-3"/>
                        <c:y val="-2.9980526161081824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7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9-BDC7-4A4B-8526-DEF59504DBFC}"/>
                  </c:ext>
                </c:extLst>
              </c15:ser>
            </c15:filteredScatterSeries>
            <c15:filteredScatterSeries>
              <c15:ser>
                <c:idx val="20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3</c15:sqref>
                        </c15:formulaRef>
                      </c:ext>
                    </c:extLst>
                    <c:strCache>
                      <c:ptCount val="1"/>
                      <c:pt idx="0">
                        <c:v>N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</a:schemeClr>
                    </a:solidFill>
                    <a:ln w="9525">
                      <a:solidFill>
                        <a:schemeClr val="accent3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691117662001338E-2"/>
                        <c:y val="3.7330981775426222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4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26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B-BDC7-4A4B-8526-DEF59504DBFC}"/>
                  </c:ext>
                </c:extLst>
              </c15:ser>
            </c15:filteredScatterSeries>
            <c15:filteredScatterSeries>
              <c15:ser>
                <c:idx val="21"/>
                <c:order val="2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4</c15:sqref>
                        </c15:formulaRef>
                      </c:ext>
                    </c:extLst>
                    <c:strCache>
                      <c:ptCount val="1"/>
                      <c:pt idx="0">
                        <c:v>N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</a:schemeClr>
                    </a:solidFill>
                    <a:ln w="9525">
                      <a:solidFill>
                        <a:schemeClr val="accent4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14019885864715E-2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860000000000000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18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D-BDC7-4A4B-8526-DEF59504DBFC}"/>
                  </c:ext>
                </c:extLst>
              </c15:ser>
            </c15:filteredScatterSeries>
            <c15:filteredScatterSeries>
              <c15:ser>
                <c:idx val="22"/>
                <c:order val="2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5</c15:sqref>
                        </c15:formulaRef>
                      </c:ext>
                    </c:extLst>
                    <c:strCache>
                      <c:ptCount val="1"/>
                      <c:pt idx="0">
                        <c:v>P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>
                        <a:lumMod val="80000"/>
                      </a:schemeClr>
                    </a:solidFill>
                    <a:ln w="25400">
                      <a:noFill/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4923175544988E-2"/>
                        <c:y val="-4.6663727219283203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7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62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F-BDC7-4A4B-8526-DEF59504DBFC}"/>
                  </c:ext>
                </c:extLst>
              </c15:ser>
            </c15:filteredScatterSeries>
            <c15:filteredScatterSeries>
              <c15:ser>
                <c:idx val="23"/>
                <c:order val="2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6</c15:sqref>
                        </c15:formulaRef>
                      </c:ext>
                    </c:extLst>
                    <c:strCache>
                      <c:ptCount val="1"/>
                      <c:pt idx="0">
                        <c:v>P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</a:schemeClr>
                    </a:solidFill>
                    <a:ln w="9525">
                      <a:solidFill>
                        <a:schemeClr val="accent6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593084740072622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6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3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1-BDC7-4A4B-8526-DEF59504DBFC}"/>
                  </c:ext>
                </c:extLst>
              </c15:ser>
            </c15:filteredScatterSeries>
            <c15:filteredScatterSeries>
              <c15:ser>
                <c:idx val="24"/>
                <c:order val="2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7</c15:sqref>
                        </c15:formulaRef>
                      </c:ext>
                    </c:extLst>
                    <c:strCache>
                      <c:ptCount val="1"/>
                      <c:pt idx="0">
                        <c:v>R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15465958222639E-2"/>
                        <c:y val="-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0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3-BDC7-4A4B-8526-DEF59504DBFC}"/>
                  </c:ext>
                </c:extLst>
              </c15:ser>
            </c15:filteredScatterSeries>
            <c15:filteredScatterSeries>
              <c15:ser>
                <c:idx val="25"/>
                <c:order val="2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8</c15:sqref>
                        </c15:formulaRef>
                      </c:ext>
                    </c:extLst>
                    <c:strCache>
                      <c:ptCount val="1"/>
                      <c:pt idx="0">
                        <c:v>SK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676881994916709E-2"/>
                        <c:y val="-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67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98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5-BDC7-4A4B-8526-DEF59504DBFC}"/>
                  </c:ext>
                </c:extLst>
              </c15:ser>
            </c15:filteredScatterSeries>
            <c15:filteredScatterSeries>
              <c15:ser>
                <c:idx val="26"/>
                <c:order val="2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9</c15:sqref>
                        </c15:formulaRef>
                      </c:ext>
                    </c:extLst>
                    <c:strCache>
                      <c:ptCount val="1"/>
                      <c:pt idx="0">
                        <c:v>S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4916619100433179E-2"/>
                        <c:y val="-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68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70000000000000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7-BDC7-4A4B-8526-DEF59504DBFC}"/>
                  </c:ext>
                </c:extLst>
              </c15:ser>
            </c15:filteredScatterSeries>
            <c15:filteredScatterSeries>
              <c15:ser>
                <c:idx val="27"/>
                <c:order val="2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0</c15:sqref>
                        </c15:formulaRef>
                      </c:ext>
                    </c:extLst>
                    <c:strCache>
                      <c:ptCount val="1"/>
                      <c:pt idx="0">
                        <c:v>E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0053402661858606E-2"/>
                        <c:y val="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2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1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9-BDC7-4A4B-8526-DEF59504DBFC}"/>
                  </c:ext>
                </c:extLst>
              </c15:ser>
            </c15:filteredScatterSeries>
            <c15:filteredScatterSeries>
              <c15:ser>
                <c:idx val="30"/>
                <c:order val="2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1</c15:sqref>
                        </c15:formulaRef>
                      </c:ext>
                    </c:extLst>
                    <c:strCache>
                      <c:ptCount val="1"/>
                      <c:pt idx="0">
                        <c:v>S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50000"/>
                      </a:schemeClr>
                    </a:solidFill>
                    <a:ln w="9525">
                      <a:solidFill>
                        <a:schemeClr val="accent1">
                          <a:lumMod val="5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137166371490727E-2"/>
                        <c:y val="-2.566504997060552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7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B-BDC7-4A4B-8526-DEF59504DBFC}"/>
                  </c:ext>
                </c:extLst>
              </c15:ser>
            </c15:filteredScatterSeries>
          </c:ext>
        </c:extLst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očkováním posilující dávkou z 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úplným očkováním z 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5.5267676767676768E-3"/>
              <c:y val="0.18109236111111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potvrzených případů</a:t>
            </a:r>
          </a:p>
          <a:p>
            <a:pPr>
              <a:defRPr sz="1300" b="1">
                <a:solidFill>
                  <a:schemeClr val="tx1"/>
                </a:solidFill>
              </a:defRPr>
            </a:pP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r>
              <a:rPr lang="cs-CZ" sz="1300" b="1" dirty="0">
                <a:solidFill>
                  <a:schemeClr val="tx1"/>
                </a:solidFill>
              </a:rPr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5247575757575754"/>
          <c:y val="0.26530147707231039"/>
          <c:w val="0.81705673400673395"/>
          <c:h val="0.4595208333333333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1.6435185185185185E-2"/>
                  <c:y val="2.3151041666666587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9E-4C7C-ACB9-533FC940C4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7796809950011</c:v>
                </c:pt>
                <c:pt idx="26">
                  <c:v>335.5358582090285</c:v>
                </c:pt>
                <c:pt idx="27">
                  <c:v>439.23946078241141</c:v>
                </c:pt>
                <c:pt idx="28">
                  <c:v>679.54380514046318</c:v>
                </c:pt>
                <c:pt idx="29">
                  <c:v>1493.0980997740869</c:v>
                </c:pt>
                <c:pt idx="30">
                  <c:v>2329.020204809472</c:v>
                </c:pt>
                <c:pt idx="31">
                  <c:v>2147.4033094821284</c:v>
                </c:pt>
                <c:pt idx="32">
                  <c:v>1491.0315085956634</c:v>
                </c:pt>
                <c:pt idx="33">
                  <c:v>996.47099165237432</c:v>
                </c:pt>
                <c:pt idx="34">
                  <c:v>626.10231833190744</c:v>
                </c:pt>
                <c:pt idx="35">
                  <c:v>507.19384129645772</c:v>
                </c:pt>
                <c:pt idx="36">
                  <c:v>503.38794713528853</c:v>
                </c:pt>
                <c:pt idx="37">
                  <c:v>505.13660120933923</c:v>
                </c:pt>
                <c:pt idx="38">
                  <c:v>465.7965600888503</c:v>
                </c:pt>
                <c:pt idx="39">
                  <c:v>391.0158829220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BB-4AF0-9666-3F5D6E12D4E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L$2:$L$41</c:f>
              <c:numCache>
                <c:formatCode>General</c:formatCode>
                <c:ptCount val="40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550779763473</c:v>
                </c:pt>
                <c:pt idx="21">
                  <c:v>1176.4656304754617</c:v>
                </c:pt>
                <c:pt idx="22">
                  <c:v>1123.2764118915923</c:v>
                </c:pt>
                <c:pt idx="23">
                  <c:v>824.86345871367826</c:v>
                </c:pt>
                <c:pt idx="24">
                  <c:v>569.32435034673756</c:v>
                </c:pt>
                <c:pt idx="25">
                  <c:v>367.26761505810049</c:v>
                </c:pt>
                <c:pt idx="26">
                  <c:v>364.04291561932644</c:v>
                </c:pt>
                <c:pt idx="27">
                  <c:v>340.84706624723589</c:v>
                </c:pt>
                <c:pt idx="28">
                  <c:v>327.19706010015256</c:v>
                </c:pt>
                <c:pt idx="29">
                  <c:v>809.41788128818678</c:v>
                </c:pt>
                <c:pt idx="30">
                  <c:v>1789.011946595313</c:v>
                </c:pt>
                <c:pt idx="31">
                  <c:v>2441.2623745550691</c:v>
                </c:pt>
                <c:pt idx="32">
                  <c:v>2515.3754951791661</c:v>
                </c:pt>
                <c:pt idx="33">
                  <c:v>2262.4198107944248</c:v>
                </c:pt>
                <c:pt idx="34">
                  <c:v>1752.2943461674538</c:v>
                </c:pt>
                <c:pt idx="35">
                  <c:v>1375.5908208197588</c:v>
                </c:pt>
                <c:pt idx="36">
                  <c:v>1307.3224679284403</c:v>
                </c:pt>
                <c:pt idx="37">
                  <c:v>1241.2161294335724</c:v>
                </c:pt>
                <c:pt idx="38">
                  <c:v>1070.2337705549396</c:v>
                </c:pt>
                <c:pt idx="39">
                  <c:v>736.2575127710007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5.322379634869002</c:v>
                      </c:pt>
                      <c:pt idx="1">
                        <c:v>65.203203488150081</c:v>
                      </c:pt>
                      <c:pt idx="2">
                        <c:v>82.803642284099553</c:v>
                      </c:pt>
                      <c:pt idx="3">
                        <c:v>90.154515883788505</c:v>
                      </c:pt>
                      <c:pt idx="4">
                        <c:v>97.921967916517687</c:v>
                      </c:pt>
                      <c:pt idx="5">
                        <c:v>106.24485785996715</c:v>
                      </c:pt>
                      <c:pt idx="6">
                        <c:v>115.87823412402236</c:v>
                      </c:pt>
                      <c:pt idx="7">
                        <c:v>120.03533973706958</c:v>
                      </c:pt>
                      <c:pt idx="8">
                        <c:v>122.5087741832459</c:v>
                      </c:pt>
                      <c:pt idx="9">
                        <c:v>119.42782952221926</c:v>
                      </c:pt>
                      <c:pt idx="10">
                        <c:v>119.41915080486424</c:v>
                      </c:pt>
                      <c:pt idx="11">
                        <c:v>125.6244337136926</c:v>
                      </c:pt>
                      <c:pt idx="12">
                        <c:v>118.43845574374872</c:v>
                      </c:pt>
                      <c:pt idx="13">
                        <c:v>115.56580029924218</c:v>
                      </c:pt>
                      <c:pt idx="14">
                        <c:v>129.50382037137967</c:v>
                      </c:pt>
                      <c:pt idx="15">
                        <c:v>198.4909446263118</c:v>
                      </c:pt>
                      <c:pt idx="16">
                        <c:v>347.14869420018675</c:v>
                      </c:pt>
                      <c:pt idx="17">
                        <c:v>475.79332155342098</c:v>
                      </c:pt>
                      <c:pt idx="18">
                        <c:v>501.88154592256501</c:v>
                      </c:pt>
                      <c:pt idx="19">
                        <c:v>639.53468189029411</c:v>
                      </c:pt>
                      <c:pt idx="20">
                        <c:v>980.94674391882279</c:v>
                      </c:pt>
                      <c:pt idx="21">
                        <c:v>1091.5569966083572</c:v>
                      </c:pt>
                      <c:pt idx="22">
                        <c:v>1018.1524052197277</c:v>
                      </c:pt>
                      <c:pt idx="23">
                        <c:v>771.30364749133003</c:v>
                      </c:pt>
                      <c:pt idx="24">
                        <c:v>495.67626301373667</c:v>
                      </c:pt>
                      <c:pt idx="25">
                        <c:v>391.83540986110586</c:v>
                      </c:pt>
                      <c:pt idx="26">
                        <c:v>675.69889710859854</c:v>
                      </c:pt>
                      <c:pt idx="27">
                        <c:v>1352.5347061907025</c:v>
                      </c:pt>
                      <c:pt idx="28">
                        <c:v>1725.3116527402183</c:v>
                      </c:pt>
                      <c:pt idx="29">
                        <c:v>3052.0271747997822</c:v>
                      </c:pt>
                      <c:pt idx="30">
                        <c:v>2767.0528117308486</c:v>
                      </c:pt>
                      <c:pt idx="31">
                        <c:v>1613.260732969753</c:v>
                      </c:pt>
                      <c:pt idx="32">
                        <c:v>882.71234217752499</c:v>
                      </c:pt>
                      <c:pt idx="33">
                        <c:v>548.06100096854493</c:v>
                      </c:pt>
                      <c:pt idx="34">
                        <c:v>388.78050135214414</c:v>
                      </c:pt>
                      <c:pt idx="35">
                        <c:v>386.78439636049308</c:v>
                      </c:pt>
                      <c:pt idx="36">
                        <c:v>496.24037964181196</c:v>
                      </c:pt>
                      <c:pt idx="37">
                        <c:v>623.75677373889562</c:v>
                      </c:pt>
                      <c:pt idx="38">
                        <c:v>681.2966698025765</c:v>
                      </c:pt>
                      <c:pt idx="39">
                        <c:v>604.5854871016902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8B95-4FAB-ADE2-F4AB2C1CD7F1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3.156491357662905</c:v>
                      </c:pt>
                      <c:pt idx="1">
                        <c:v>37.881637218751642</c:v>
                      </c:pt>
                      <c:pt idx="2">
                        <c:v>75.204749788681596</c:v>
                      </c:pt>
                      <c:pt idx="3">
                        <c:v>181.43435546909117</c:v>
                      </c:pt>
                      <c:pt idx="4">
                        <c:v>226.51293929300525</c:v>
                      </c:pt>
                      <c:pt idx="5">
                        <c:v>234.70215841256362</c:v>
                      </c:pt>
                      <c:pt idx="6">
                        <c:v>246.3687876461953</c:v>
                      </c:pt>
                      <c:pt idx="7">
                        <c:v>221.9437323255172</c:v>
                      </c:pt>
                      <c:pt idx="8">
                        <c:v>185.58615438785876</c:v>
                      </c:pt>
                      <c:pt idx="9">
                        <c:v>141.55777515627699</c:v>
                      </c:pt>
                      <c:pt idx="10">
                        <c:v>104.76496391514847</c:v>
                      </c:pt>
                      <c:pt idx="11">
                        <c:v>75.831604580710206</c:v>
                      </c:pt>
                      <c:pt idx="12">
                        <c:v>58.890185379084343</c:v>
                      </c:pt>
                      <c:pt idx="13">
                        <c:v>49.687897614588763</c:v>
                      </c:pt>
                      <c:pt idx="14">
                        <c:v>43.355475864783322</c:v>
                      </c:pt>
                      <c:pt idx="15">
                        <c:v>48.607984264340445</c:v>
                      </c:pt>
                      <c:pt idx="16">
                        <c:v>53.426744798323284</c:v>
                      </c:pt>
                      <c:pt idx="17">
                        <c:v>59.011991286540137</c:v>
                      </c:pt>
                      <c:pt idx="18">
                        <c:v>73.218719321993859</c:v>
                      </c:pt>
                      <c:pt idx="19">
                        <c:v>100.66366988483814</c:v>
                      </c:pt>
                      <c:pt idx="20">
                        <c:v>181.05408336776577</c:v>
                      </c:pt>
                      <c:pt idx="21">
                        <c:v>293.45122719154676</c:v>
                      </c:pt>
                      <c:pt idx="22">
                        <c:v>432.75410762199573</c:v>
                      </c:pt>
                      <c:pt idx="23">
                        <c:v>505.67722480272494</c:v>
                      </c:pt>
                      <c:pt idx="24">
                        <c:v>541.42428776520865</c:v>
                      </c:pt>
                      <c:pt idx="25">
                        <c:v>774.87422203161088</c:v>
                      </c:pt>
                      <c:pt idx="26">
                        <c:v>1701.8825370376112</c:v>
                      </c:pt>
                      <c:pt idx="27">
                        <c:v>2592.5020799101417</c:v>
                      </c:pt>
                      <c:pt idx="28">
                        <c:v>3004.6041444667972</c:v>
                      </c:pt>
                      <c:pt idx="29">
                        <c:v>3687.1405760195426</c:v>
                      </c:pt>
                      <c:pt idx="30">
                        <c:v>3567.05777652288</c:v>
                      </c:pt>
                      <c:pt idx="31">
                        <c:v>2631.1606011483977</c:v>
                      </c:pt>
                      <c:pt idx="32">
                        <c:v>1491.2489288507334</c:v>
                      </c:pt>
                      <c:pt idx="33">
                        <c:v>887.49418153976217</c:v>
                      </c:pt>
                      <c:pt idx="34">
                        <c:v>614.1676669605456</c:v>
                      </c:pt>
                      <c:pt idx="35">
                        <c:v>539.47242237012438</c:v>
                      </c:pt>
                      <c:pt idx="36">
                        <c:v>658.44857063441384</c:v>
                      </c:pt>
                      <c:pt idx="37">
                        <c:v>900.02979194243835</c:v>
                      </c:pt>
                      <c:pt idx="38">
                        <c:v>1291.8051243329344</c:v>
                      </c:pt>
                      <c:pt idx="39">
                        <c:v>1444.16946018117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B95-4FAB-ADE2-F4AB2C1CD7F1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7992439088709524</c:v>
                      </c:pt>
                      <c:pt idx="1">
                        <c:v>13.344737475362786</c:v>
                      </c:pt>
                      <c:pt idx="2">
                        <c:v>27.132119842482805</c:v>
                      </c:pt>
                      <c:pt idx="3">
                        <c:v>50.228458418073004</c:v>
                      </c:pt>
                      <c:pt idx="4">
                        <c:v>63.601699541768639</c:v>
                      </c:pt>
                      <c:pt idx="5">
                        <c:v>68.859784316581781</c:v>
                      </c:pt>
                      <c:pt idx="6">
                        <c:v>74.196673295609259</c:v>
                      </c:pt>
                      <c:pt idx="7">
                        <c:v>73.680254255225833</c:v>
                      </c:pt>
                      <c:pt idx="8">
                        <c:v>76.51217555135446</c:v>
                      </c:pt>
                      <c:pt idx="9">
                        <c:v>69.069369966088033</c:v>
                      </c:pt>
                      <c:pt idx="10">
                        <c:v>58.638711361460338</c:v>
                      </c:pt>
                      <c:pt idx="11">
                        <c:v>49.794196952296026</c:v>
                      </c:pt>
                      <c:pt idx="12">
                        <c:v>40.580811800000696</c:v>
                      </c:pt>
                      <c:pt idx="13">
                        <c:v>36.417602458208286</c:v>
                      </c:pt>
                      <c:pt idx="14">
                        <c:v>30.653158754188023</c:v>
                      </c:pt>
                      <c:pt idx="15">
                        <c:v>29.481155802148997</c:v>
                      </c:pt>
                      <c:pt idx="16">
                        <c:v>39.043291475222752</c:v>
                      </c:pt>
                      <c:pt idx="17">
                        <c:v>51.608370334422233</c:v>
                      </c:pt>
                      <c:pt idx="18">
                        <c:v>60.4981552438799</c:v>
                      </c:pt>
                      <c:pt idx="19">
                        <c:v>87.211103787350169</c:v>
                      </c:pt>
                      <c:pt idx="20">
                        <c:v>110.03581936118026</c:v>
                      </c:pt>
                      <c:pt idx="21">
                        <c:v>137.70615515159514</c:v>
                      </c:pt>
                      <c:pt idx="22">
                        <c:v>169.78784969281787</c:v>
                      </c:pt>
                      <c:pt idx="23">
                        <c:v>195.22484080209401</c:v>
                      </c:pt>
                      <c:pt idx="24">
                        <c:v>274.36941211124713</c:v>
                      </c:pt>
                      <c:pt idx="25">
                        <c:v>432.8496968419031</c:v>
                      </c:pt>
                      <c:pt idx="26">
                        <c:v>1141.4252441186579</c:v>
                      </c:pt>
                      <c:pt idx="27">
                        <c:v>1859.2141765477077</c:v>
                      </c:pt>
                      <c:pt idx="28">
                        <c:v>2129.3499585389286</c:v>
                      </c:pt>
                      <c:pt idx="29">
                        <c:v>2040.1285092015144</c:v>
                      </c:pt>
                      <c:pt idx="30">
                        <c:v>1679.7149661993678</c:v>
                      </c:pt>
                      <c:pt idx="31">
                        <c:v>1167.3937444350818</c:v>
                      </c:pt>
                      <c:pt idx="32">
                        <c:v>811.4133570912918</c:v>
                      </c:pt>
                      <c:pt idx="33">
                        <c:v>610.81641692105336</c:v>
                      </c:pt>
                      <c:pt idx="34">
                        <c:v>493.92295510802819</c:v>
                      </c:pt>
                      <c:pt idx="35">
                        <c:v>438.5437197676892</c:v>
                      </c:pt>
                      <c:pt idx="36">
                        <c:v>581.96904812301125</c:v>
                      </c:pt>
                      <c:pt idx="37">
                        <c:v>819.12107893753421</c:v>
                      </c:pt>
                      <c:pt idx="38">
                        <c:v>843.33911990928186</c:v>
                      </c:pt>
                      <c:pt idx="39">
                        <c:v>806.6398343381372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8B95-4FAB-ADE2-F4AB2C1CD7F1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layout>
                      <c:manualLayout>
                        <c:x val="-1.6435185185185185E-2"/>
                        <c:y val="-2.9765624999999921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679E-4C7C-ACB9-533FC940C4AD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.2519004504415054</c:v>
                      </c:pt>
                      <c:pt idx="1">
                        <c:v>2.8353473853286228</c:v>
                      </c:pt>
                      <c:pt idx="2">
                        <c:v>3.3266711199704058</c:v>
                      </c:pt>
                      <c:pt idx="3">
                        <c:v>4.0738926330714511</c:v>
                      </c:pt>
                      <c:pt idx="4">
                        <c:v>3.9305898771342638</c:v>
                      </c:pt>
                      <c:pt idx="5">
                        <c:v>3.7361075655052254</c:v>
                      </c:pt>
                      <c:pt idx="6">
                        <c:v>5.0463041912166471</c:v>
                      </c:pt>
                      <c:pt idx="7">
                        <c:v>6.3155571723745858</c:v>
                      </c:pt>
                      <c:pt idx="8">
                        <c:v>11.32091771903775</c:v>
                      </c:pt>
                      <c:pt idx="9">
                        <c:v>14.954666173159271</c:v>
                      </c:pt>
                      <c:pt idx="10">
                        <c:v>19.622241652256211</c:v>
                      </c:pt>
                      <c:pt idx="11">
                        <c:v>26.87950264936088</c:v>
                      </c:pt>
                      <c:pt idx="12">
                        <c:v>31.004574838124185</c:v>
                      </c:pt>
                      <c:pt idx="13">
                        <c:v>37.013054676347657</c:v>
                      </c:pt>
                      <c:pt idx="14">
                        <c:v>46.89070892487517</c:v>
                      </c:pt>
                      <c:pt idx="15">
                        <c:v>70.955336011184158</c:v>
                      </c:pt>
                      <c:pt idx="16">
                        <c:v>144.56177300720628</c:v>
                      </c:pt>
                      <c:pt idx="17">
                        <c:v>246.85946892408086</c:v>
                      </c:pt>
                      <c:pt idx="18">
                        <c:v>362.02370514188715</c:v>
                      </c:pt>
                      <c:pt idx="19">
                        <c:v>520.46537365272377</c:v>
                      </c:pt>
                      <c:pt idx="20">
                        <c:v>663.8295450567407</c:v>
                      </c:pt>
                      <c:pt idx="21">
                        <c:v>726.96464495820987</c:v>
                      </c:pt>
                      <c:pt idx="22">
                        <c:v>622.84495685870525</c:v>
                      </c:pt>
                      <c:pt idx="23">
                        <c:v>423.4698797055251</c:v>
                      </c:pt>
                      <c:pt idx="24">
                        <c:v>301.5601780475327</c:v>
                      </c:pt>
                      <c:pt idx="25">
                        <c:v>173.18138055009015</c:v>
                      </c:pt>
                      <c:pt idx="26">
                        <c:v>173.60105290676333</c:v>
                      </c:pt>
                      <c:pt idx="27">
                        <c:v>361.64497642976738</c:v>
                      </c:pt>
                      <c:pt idx="28">
                        <c:v>518.12135000203693</c:v>
                      </c:pt>
                      <c:pt idx="29">
                        <c:v>953.51606618376354</c:v>
                      </c:pt>
                      <c:pt idx="30">
                        <c:v>1146.6165298091228</c:v>
                      </c:pt>
                      <c:pt idx="31">
                        <c:v>994.52112620407581</c:v>
                      </c:pt>
                      <c:pt idx="32">
                        <c:v>680.81092163529729</c:v>
                      </c:pt>
                      <c:pt idx="33">
                        <c:v>436.18288133938125</c:v>
                      </c:pt>
                      <c:pt idx="34">
                        <c:v>285.1622484038632</c:v>
                      </c:pt>
                      <c:pt idx="35">
                        <c:v>187.86991303365178</c:v>
                      </c:pt>
                      <c:pt idx="36">
                        <c:v>128.2559665637821</c:v>
                      </c:pt>
                      <c:pt idx="37">
                        <c:v>117.71297809126052</c:v>
                      </c:pt>
                      <c:pt idx="38">
                        <c:v>149.97656999940426</c:v>
                      </c:pt>
                      <c:pt idx="39">
                        <c:v>143.8452592275203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8B95-4FAB-ADE2-F4AB2C1CD7F1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b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F795-452E-A057-139C692191EC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5.2641254503860324</c:v>
                      </c:pt>
                      <c:pt idx="1">
                        <c:v>6.7130224736192821</c:v>
                      </c:pt>
                      <c:pt idx="2">
                        <c:v>10.952699572308445</c:v>
                      </c:pt>
                      <c:pt idx="3">
                        <c:v>15.194781479334923</c:v>
                      </c:pt>
                      <c:pt idx="4">
                        <c:v>18.65289586839619</c:v>
                      </c:pt>
                      <c:pt idx="5">
                        <c:v>24.553093124002466</c:v>
                      </c:pt>
                      <c:pt idx="6">
                        <c:v>38.562304093040304</c:v>
                      </c:pt>
                      <c:pt idx="7">
                        <c:v>59.695759761378568</c:v>
                      </c:pt>
                      <c:pt idx="8">
                        <c:v>79.814386311369219</c:v>
                      </c:pt>
                      <c:pt idx="9">
                        <c:v>89.877306798870521</c:v>
                      </c:pt>
                      <c:pt idx="10">
                        <c:v>86.182318788583572</c:v>
                      </c:pt>
                      <c:pt idx="11">
                        <c:v>73.91779626826893</c:v>
                      </c:pt>
                      <c:pt idx="12">
                        <c:v>64.459685077602742</c:v>
                      </c:pt>
                      <c:pt idx="13">
                        <c:v>67.921406679169991</c:v>
                      </c:pt>
                      <c:pt idx="14">
                        <c:v>69.7490610155306</c:v>
                      </c:pt>
                      <c:pt idx="15">
                        <c:v>78.581922038494469</c:v>
                      </c:pt>
                      <c:pt idx="16">
                        <c:v>117.50254257379494</c:v>
                      </c:pt>
                      <c:pt idx="17">
                        <c:v>164.76664563541536</c:v>
                      </c:pt>
                      <c:pt idx="18">
                        <c:v>213.89447515845615</c:v>
                      </c:pt>
                      <c:pt idx="19">
                        <c:v>326.20744134032185</c:v>
                      </c:pt>
                      <c:pt idx="20">
                        <c:v>422.91079660466551</c:v>
                      </c:pt>
                      <c:pt idx="21">
                        <c:v>484.9608637282771</c:v>
                      </c:pt>
                      <c:pt idx="22">
                        <c:v>466.8490497357771</c:v>
                      </c:pt>
                      <c:pt idx="23">
                        <c:v>406.65549464857395</c:v>
                      </c:pt>
                      <c:pt idx="24">
                        <c:v>328.9837925657539</c:v>
                      </c:pt>
                      <c:pt idx="25">
                        <c:v>233.18464523624121</c:v>
                      </c:pt>
                      <c:pt idx="26">
                        <c:v>251.01750146161245</c:v>
                      </c:pt>
                      <c:pt idx="27">
                        <c:v>406.56892154843058</c:v>
                      </c:pt>
                      <c:pt idx="28">
                        <c:v>584.40690290133034</c:v>
                      </c:pt>
                      <c:pt idx="29">
                        <c:v>957.18586250212547</c:v>
                      </c:pt>
                      <c:pt idx="30">
                        <c:v>1335.3576047993529</c:v>
                      </c:pt>
                      <c:pt idx="31">
                        <c:v>1550.4761274015032</c:v>
                      </c:pt>
                      <c:pt idx="32">
                        <c:v>1571.7827292701284</c:v>
                      </c:pt>
                      <c:pt idx="33">
                        <c:v>1431.478996446066</c:v>
                      </c:pt>
                      <c:pt idx="34">
                        <c:v>1311.1580185009359</c:v>
                      </c:pt>
                      <c:pt idx="35">
                        <c:v>1352.5495796028295</c:v>
                      </c:pt>
                      <c:pt idx="36">
                        <c:v>1681.8351756149164</c:v>
                      </c:pt>
                      <c:pt idx="37">
                        <c:v>1882.6811607350926</c:v>
                      </c:pt>
                      <c:pt idx="38">
                        <c:v>1882.0547081632219</c:v>
                      </c:pt>
                      <c:pt idx="39">
                        <c:v>1531.737860837132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8B95-4FAB-ADE2-F4AB2C1CD7F1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33.393489102595218</c:v>
                      </c:pt>
                      <c:pt idx="1">
                        <c:v>224.6549420841547</c:v>
                      </c:pt>
                      <c:pt idx="2">
                        <c:v>402.7324870164357</c:v>
                      </c:pt>
                      <c:pt idx="3">
                        <c:v>258.36438541015309</c:v>
                      </c:pt>
                      <c:pt idx="4">
                        <c:v>140.14580425716721</c:v>
                      </c:pt>
                      <c:pt idx="5">
                        <c:v>103.60426216502749</c:v>
                      </c:pt>
                      <c:pt idx="6">
                        <c:v>92.557353590403252</c:v>
                      </c:pt>
                      <c:pt idx="7">
                        <c:v>97.187519118820902</c:v>
                      </c:pt>
                      <c:pt idx="8">
                        <c:v>102.42086998282646</c:v>
                      </c:pt>
                      <c:pt idx="9">
                        <c:v>101.43853957915471</c:v>
                      </c:pt>
                      <c:pt idx="10">
                        <c:v>96.027105425594641</c:v>
                      </c:pt>
                      <c:pt idx="11">
                        <c:v>80.545348478838392</c:v>
                      </c:pt>
                      <c:pt idx="12">
                        <c:v>66.706553493778728</c:v>
                      </c:pt>
                      <c:pt idx="13">
                        <c:v>66.310174558963809</c:v>
                      </c:pt>
                      <c:pt idx="14">
                        <c:v>92.677990657520837</c:v>
                      </c:pt>
                      <c:pt idx="15">
                        <c:v>135.17096139412791</c:v>
                      </c:pt>
                      <c:pt idx="16">
                        <c:v>200.07944812563028</c:v>
                      </c:pt>
                      <c:pt idx="17">
                        <c:v>284.12327155087854</c:v>
                      </c:pt>
                      <c:pt idx="18">
                        <c:v>395.89638654643937</c:v>
                      </c:pt>
                      <c:pt idx="19">
                        <c:v>538.63301543551279</c:v>
                      </c:pt>
                      <c:pt idx="20">
                        <c:v>844.24691880005184</c:v>
                      </c:pt>
                      <c:pt idx="21">
                        <c:v>902.63525928496108</c:v>
                      </c:pt>
                      <c:pt idx="22">
                        <c:v>874.13044371174988</c:v>
                      </c:pt>
                      <c:pt idx="23">
                        <c:v>738.13800133677353</c:v>
                      </c:pt>
                      <c:pt idx="24">
                        <c:v>572.61820062920845</c:v>
                      </c:pt>
                      <c:pt idx="25">
                        <c:v>489.17181791730439</c:v>
                      </c:pt>
                      <c:pt idx="26">
                        <c:v>578.51218305123882</c:v>
                      </c:pt>
                      <c:pt idx="27">
                        <c:v>1015.6894250408659</c:v>
                      </c:pt>
                      <c:pt idx="28">
                        <c:v>1288.185581170507</c:v>
                      </c:pt>
                      <c:pt idx="29">
                        <c:v>1829.3404857710018</c:v>
                      </c:pt>
                      <c:pt idx="30">
                        <c:v>2447.9731105722017</c:v>
                      </c:pt>
                      <c:pt idx="31">
                        <c:v>3257.913145332911</c:v>
                      </c:pt>
                      <c:pt idx="32">
                        <c:v>4920.9123494154992</c:v>
                      </c:pt>
                      <c:pt idx="33">
                        <c:v>1996.5779285294311</c:v>
                      </c:pt>
                      <c:pt idx="34">
                        <c:v>1441.3429548096419</c:v>
                      </c:pt>
                      <c:pt idx="35">
                        <c:v>2153.118884670102</c:v>
                      </c:pt>
                      <c:pt idx="36">
                        <c:v>2660.7768969676149</c:v>
                      </c:pt>
                      <c:pt idx="37">
                        <c:v>1957.1583306932007</c:v>
                      </c:pt>
                      <c:pt idx="38">
                        <c:v>1392.4791980047778</c:v>
                      </c:pt>
                      <c:pt idx="39">
                        <c:v>899.2803998946436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8B95-4FAB-ADE2-F4AB2C1CD7F1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layout>
                      <c:manualLayout>
                        <c:x val="-2.2378956228956227E-2"/>
                        <c:y val="-3.417534722222222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B09E-4F98-8D47-27F2CA2BBFD2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.630743847340457</c:v>
                      </c:pt>
                      <c:pt idx="1">
                        <c:v>1.4753094580139838</c:v>
                      </c:pt>
                      <c:pt idx="2">
                        <c:v>1.6570886590907066</c:v>
                      </c:pt>
                      <c:pt idx="3">
                        <c:v>1.9442471071684286</c:v>
                      </c:pt>
                      <c:pt idx="4">
                        <c:v>2.3604951328223742</c:v>
                      </c:pt>
                      <c:pt idx="5">
                        <c:v>2.7451293843760198</c:v>
                      </c:pt>
                      <c:pt idx="6">
                        <c:v>3.4274600087074871</c:v>
                      </c:pt>
                      <c:pt idx="7">
                        <c:v>3.5565495862837109</c:v>
                      </c:pt>
                      <c:pt idx="8">
                        <c:v>4.2467836541402537</c:v>
                      </c:pt>
                      <c:pt idx="9">
                        <c:v>6.014520522582008</c:v>
                      </c:pt>
                      <c:pt idx="10">
                        <c:v>8.5646983000061798</c:v>
                      </c:pt>
                      <c:pt idx="11">
                        <c:v>11.539027546609372</c:v>
                      </c:pt>
                      <c:pt idx="12">
                        <c:v>14.115550135783794</c:v>
                      </c:pt>
                      <c:pt idx="13">
                        <c:v>20.801863357997171</c:v>
                      </c:pt>
                      <c:pt idx="14">
                        <c:v>30.970960693593558</c:v>
                      </c:pt>
                      <c:pt idx="15">
                        <c:v>46.946454538944984</c:v>
                      </c:pt>
                      <c:pt idx="16">
                        <c:v>91.564027719167896</c:v>
                      </c:pt>
                      <c:pt idx="17">
                        <c:v>142.98646577448031</c:v>
                      </c:pt>
                      <c:pt idx="18">
                        <c:v>214.39934698588218</c:v>
                      </c:pt>
                      <c:pt idx="19">
                        <c:v>269.99743770360914</c:v>
                      </c:pt>
                      <c:pt idx="20">
                        <c:v>378.62763447458883</c:v>
                      </c:pt>
                      <c:pt idx="21">
                        <c:v>430.01845875580096</c:v>
                      </c:pt>
                      <c:pt idx="22">
                        <c:v>431.23558905866247</c:v>
                      </c:pt>
                      <c:pt idx="23">
                        <c:v>408.2049546265942</c:v>
                      </c:pt>
                      <c:pt idx="24">
                        <c:v>339.38176841024182</c:v>
                      </c:pt>
                      <c:pt idx="25">
                        <c:v>227.70611140093331</c:v>
                      </c:pt>
                      <c:pt idx="26">
                        <c:v>208.07659216582223</c:v>
                      </c:pt>
                      <c:pt idx="27">
                        <c:v>229.57395855402601</c:v>
                      </c:pt>
                      <c:pt idx="28">
                        <c:v>270.0422238835846</c:v>
                      </c:pt>
                      <c:pt idx="29">
                        <c:v>589.70753517993955</c:v>
                      </c:pt>
                      <c:pt idx="30">
                        <c:v>892.54378073023497</c:v>
                      </c:pt>
                      <c:pt idx="31">
                        <c:v>884.62189583693487</c:v>
                      </c:pt>
                      <c:pt idx="32">
                        <c:v>599.29441217585543</c:v>
                      </c:pt>
                      <c:pt idx="33">
                        <c:v>391.15459246183252</c:v>
                      </c:pt>
                      <c:pt idx="34">
                        <c:v>273.0508013854631</c:v>
                      </c:pt>
                      <c:pt idx="35">
                        <c:v>211.50932113687981</c:v>
                      </c:pt>
                      <c:pt idx="36">
                        <c:v>201.9066372539138</c:v>
                      </c:pt>
                      <c:pt idx="37">
                        <c:v>187.90963877100609</c:v>
                      </c:pt>
                      <c:pt idx="38">
                        <c:v>132.4906927731808</c:v>
                      </c:pt>
                      <c:pt idx="39">
                        <c:v>69.58718575710959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8B95-4FAB-ADE2-F4AB2C1CD7F1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layout>
                      <c:manualLayout>
                        <c:x val="-1.1795622895623052E-2"/>
                        <c:y val="2.9765625E-2"/>
                      </c:manualLayout>
                    </c:layout>
                    <c:numFmt formatCode="#,##0" sourceLinked="0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5580-40DD-88C4-9D1681D6C4A1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7.1115093656219077</c:v>
                      </c:pt>
                      <c:pt idx="1">
                        <c:v>12.279430863546201</c:v>
                      </c:pt>
                      <c:pt idx="2">
                        <c:v>24.637504010756469</c:v>
                      </c:pt>
                      <c:pt idx="3">
                        <c:v>28.457272074439636</c:v>
                      </c:pt>
                      <c:pt idx="4">
                        <c:v>36.523723455982342</c:v>
                      </c:pt>
                      <c:pt idx="5">
                        <c:v>41.19732202801822</c:v>
                      </c:pt>
                      <c:pt idx="6">
                        <c:v>66.295445128807074</c:v>
                      </c:pt>
                      <c:pt idx="7">
                        <c:v>90.607145392955275</c:v>
                      </c:pt>
                      <c:pt idx="8">
                        <c:v>106.00979837916006</c:v>
                      </c:pt>
                      <c:pt idx="9">
                        <c:v>127.01852272941751</c:v>
                      </c:pt>
                      <c:pt idx="10">
                        <c:v>157.95864404525122</c:v>
                      </c:pt>
                      <c:pt idx="11">
                        <c:v>154.45344511622432</c:v>
                      </c:pt>
                      <c:pt idx="12">
                        <c:v>132.15274039148579</c:v>
                      </c:pt>
                      <c:pt idx="13">
                        <c:v>141.48870292360553</c:v>
                      </c:pt>
                      <c:pt idx="14">
                        <c:v>143.62327919448731</c:v>
                      </c:pt>
                      <c:pt idx="15">
                        <c:v>172.56363958286335</c:v>
                      </c:pt>
                      <c:pt idx="16">
                        <c:v>268.00166811518261</c:v>
                      </c:pt>
                      <c:pt idx="17">
                        <c:v>388.4254736287707</c:v>
                      </c:pt>
                      <c:pt idx="18">
                        <c:v>634.7668099004793</c:v>
                      </c:pt>
                      <c:pt idx="19">
                        <c:v>885.54581789323174</c:v>
                      </c:pt>
                      <c:pt idx="20">
                        <c:v>1092.9255199153718</c:v>
                      </c:pt>
                      <c:pt idx="21">
                        <c:v>928.91142002798767</c:v>
                      </c:pt>
                      <c:pt idx="22">
                        <c:v>571.71816762580295</c:v>
                      </c:pt>
                      <c:pt idx="23">
                        <c:v>329.24153786558549</c:v>
                      </c:pt>
                      <c:pt idx="24">
                        <c:v>211.91848525075204</c:v>
                      </c:pt>
                      <c:pt idx="25">
                        <c:v>164.46348436546461</c:v>
                      </c:pt>
                      <c:pt idx="26">
                        <c:v>259.87904367387989</c:v>
                      </c:pt>
                      <c:pt idx="27">
                        <c:v>701.94978937349515</c:v>
                      </c:pt>
                      <c:pt idx="28">
                        <c:v>1249.1203298841579</c:v>
                      </c:pt>
                      <c:pt idx="29">
                        <c:v>1981.9990059615347</c:v>
                      </c:pt>
                      <c:pt idx="30">
                        <c:v>2552.6498854518964</c:v>
                      </c:pt>
                      <c:pt idx="31">
                        <c:v>2600.385751635984</c:v>
                      </c:pt>
                      <c:pt idx="32">
                        <c:v>2431.9452146395083</c:v>
                      </c:pt>
                      <c:pt idx="33">
                        <c:v>2203.1748114607421</c:v>
                      </c:pt>
                      <c:pt idx="34">
                        <c:v>2087.8739889972703</c:v>
                      </c:pt>
                      <c:pt idx="35">
                        <c:v>2442.7978497851491</c:v>
                      </c:pt>
                      <c:pt idx="36">
                        <c:v>3369.9454357366717</c:v>
                      </c:pt>
                      <c:pt idx="37">
                        <c:v>3558.720620366284</c:v>
                      </c:pt>
                      <c:pt idx="38">
                        <c:v>2796.0477533921785</c:v>
                      </c:pt>
                      <c:pt idx="39">
                        <c:v>1711.896465411326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8B95-4FAB-ADE2-F4AB2C1CD7F1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166.77084430621136</c:v>
                      </c:pt>
                      <c:pt idx="1">
                        <c:v>285.80293494882829</c:v>
                      </c:pt>
                      <c:pt idx="2">
                        <c:v>373.15496667900067</c:v>
                      </c:pt>
                      <c:pt idx="3">
                        <c:v>392.68061552653739</c:v>
                      </c:pt>
                      <c:pt idx="4">
                        <c:v>333.33253050423122</c:v>
                      </c:pt>
                      <c:pt idx="5">
                        <c:v>251.92354683812729</c:v>
                      </c:pt>
                      <c:pt idx="6">
                        <c:v>191.68389897080266</c:v>
                      </c:pt>
                      <c:pt idx="7">
                        <c:v>144.77966503181082</c:v>
                      </c:pt>
                      <c:pt idx="8">
                        <c:v>109.67068076992324</c:v>
                      </c:pt>
                      <c:pt idx="9">
                        <c:v>72.328563979162453</c:v>
                      </c:pt>
                      <c:pt idx="10">
                        <c:v>49.031731059687516</c:v>
                      </c:pt>
                      <c:pt idx="11">
                        <c:v>37.770996547961623</c:v>
                      </c:pt>
                      <c:pt idx="12">
                        <c:v>30.587788791888823</c:v>
                      </c:pt>
                      <c:pt idx="13">
                        <c:v>25.684193144287363</c:v>
                      </c:pt>
                      <c:pt idx="14">
                        <c:v>21.90667094785849</c:v>
                      </c:pt>
                      <c:pt idx="15">
                        <c:v>22.464425903035906</c:v>
                      </c:pt>
                      <c:pt idx="16">
                        <c:v>26.212370185175068</c:v>
                      </c:pt>
                      <c:pt idx="17">
                        <c:v>28.375783344651111</c:v>
                      </c:pt>
                      <c:pt idx="18">
                        <c:v>33.908966024990718</c:v>
                      </c:pt>
                      <c:pt idx="19">
                        <c:v>53.755746513387159</c:v>
                      </c:pt>
                      <c:pt idx="20">
                        <c:v>85.892150389158729</c:v>
                      </c:pt>
                      <c:pt idx="21">
                        <c:v>124.97302599852186</c:v>
                      </c:pt>
                      <c:pt idx="22">
                        <c:v>189.19301604597624</c:v>
                      </c:pt>
                      <c:pt idx="23">
                        <c:v>243.3987693981997</c:v>
                      </c:pt>
                      <c:pt idx="24">
                        <c:v>483.32213386735833</c:v>
                      </c:pt>
                      <c:pt idx="25">
                        <c:v>1033.0910521865537</c:v>
                      </c:pt>
                      <c:pt idx="26">
                        <c:v>1665.3802386658804</c:v>
                      </c:pt>
                      <c:pt idx="27">
                        <c:v>1869.9368684771982</c:v>
                      </c:pt>
                      <c:pt idx="28">
                        <c:v>2007.1467001590067</c:v>
                      </c:pt>
                      <c:pt idx="29">
                        <c:v>1780.8334016794427</c:v>
                      </c:pt>
                      <c:pt idx="30">
                        <c:v>1317.6643909841953</c:v>
                      </c:pt>
                      <c:pt idx="31">
                        <c:v>806.4207060273493</c:v>
                      </c:pt>
                      <c:pt idx="32">
                        <c:v>512.79018733256521</c:v>
                      </c:pt>
                      <c:pt idx="33">
                        <c:v>331.99307352853992</c:v>
                      </c:pt>
                      <c:pt idx="34">
                        <c:v>246.88685057622214</c:v>
                      </c:pt>
                      <c:pt idx="35">
                        <c:v>231.87817178235707</c:v>
                      </c:pt>
                      <c:pt idx="36">
                        <c:v>229.29010428200735</c:v>
                      </c:pt>
                      <c:pt idx="37">
                        <c:v>242.41424739398502</c:v>
                      </c:pt>
                      <c:pt idx="38">
                        <c:v>246.47275977616616</c:v>
                      </c:pt>
                      <c:pt idx="39">
                        <c:v>85.65763978300458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49AF-4F0F-9F24-6EADCC764DFA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2-A50C-414A-BE02-F1C320178424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278.56506264198623</c:v>
                      </c:pt>
                      <c:pt idx="1">
                        <c:v>345.2872069401609</c:v>
                      </c:pt>
                      <c:pt idx="2">
                        <c:v>497.83085810795717</c:v>
                      </c:pt>
                      <c:pt idx="3">
                        <c:v>333.86050159989304</c:v>
                      </c:pt>
                      <c:pt idx="4">
                        <c:v>270.80718631478879</c:v>
                      </c:pt>
                      <c:pt idx="5">
                        <c:v>290.36790744054247</c:v>
                      </c:pt>
                      <c:pt idx="6">
                        <c:v>305.50017416285425</c:v>
                      </c:pt>
                      <c:pt idx="7">
                        <c:v>351.36567935789117</c:v>
                      </c:pt>
                      <c:pt idx="8">
                        <c:v>353.67834930846101</c:v>
                      </c:pt>
                      <c:pt idx="9">
                        <c:v>393.02165506856812</c:v>
                      </c:pt>
                      <c:pt idx="10">
                        <c:v>337.5748787504906</c:v>
                      </c:pt>
                      <c:pt idx="11">
                        <c:v>312.88484962128121</c:v>
                      </c:pt>
                      <c:pt idx="12">
                        <c:v>359.53789680710935</c:v>
                      </c:pt>
                      <c:pt idx="13">
                        <c:v>341.99304809061988</c:v>
                      </c:pt>
                      <c:pt idx="14">
                        <c:v>389.10010735696017</c:v>
                      </c:pt>
                      <c:pt idx="15">
                        <c:v>466.76702831447079</c:v>
                      </c:pt>
                      <c:pt idx="16">
                        <c:v>467.67946035977184</c:v>
                      </c:pt>
                      <c:pt idx="17">
                        <c:v>414.75840173231023</c:v>
                      </c:pt>
                      <c:pt idx="18">
                        <c:v>353.81352442628338</c:v>
                      </c:pt>
                      <c:pt idx="19">
                        <c:v>405.78394934471146</c:v>
                      </c:pt>
                      <c:pt idx="20">
                        <c:v>439.61886905355658</c:v>
                      </c:pt>
                      <c:pt idx="21">
                        <c:v>442.42669133788888</c:v>
                      </c:pt>
                      <c:pt idx="22">
                        <c:v>502.5135005046954</c:v>
                      </c:pt>
                      <c:pt idx="23">
                        <c:v>565.43457926149506</c:v>
                      </c:pt>
                      <c:pt idx="24">
                        <c:v>998.31232396103997</c:v>
                      </c:pt>
                      <c:pt idx="25">
                        <c:v>1356.8202451421332</c:v>
                      </c:pt>
                      <c:pt idx="26">
                        <c:v>0</c:v>
                      </c:pt>
                      <c:pt idx="27">
                        <c:v>1745.714651232842</c:v>
                      </c:pt>
                      <c:pt idx="28">
                        <c:v>1011.2685651453633</c:v>
                      </c:pt>
                      <c:pt idx="29">
                        <c:v>1043.8163826453779</c:v>
                      </c:pt>
                      <c:pt idx="30">
                        <c:v>964.82268852054551</c:v>
                      </c:pt>
                      <c:pt idx="31">
                        <c:v>629.22254192606886</c:v>
                      </c:pt>
                      <c:pt idx="32">
                        <c:v>800.33073237305814</c:v>
                      </c:pt>
                      <c:pt idx="33">
                        <c:v>378.67105315801183</c:v>
                      </c:pt>
                      <c:pt idx="34">
                        <c:v>412.79689322912685</c:v>
                      </c:pt>
                      <c:pt idx="35">
                        <c:v>526.88910055549184</c:v>
                      </c:pt>
                      <c:pt idx="36">
                        <c:v>767.05708326212766</c:v>
                      </c:pt>
                      <c:pt idx="37">
                        <c:v>648.13971194740725</c:v>
                      </c:pt>
                      <c:pt idx="38">
                        <c:v>709.14189174903277</c:v>
                      </c:pt>
                      <c:pt idx="39">
                        <c:v>982.30876544667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8B95-4FAB-ADE2-F4AB2C1CD7F1}"/>
                  </c:ext>
                </c:extLst>
              </c15:ser>
            </c15:filteredLineSeries>
          </c:ext>
        </c:extLst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2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</a:rPr>
                  <a:t>7 denní kumulativní počet případů na 100 tisíc osob </a:t>
                </a:r>
              </a:p>
            </c:rich>
          </c:tx>
          <c:layout>
            <c:manualLayout>
              <c:xMode val="edge"/>
              <c:yMode val="edge"/>
              <c:x val="6.4141414141414138E-3"/>
              <c:y val="0.226667013888888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620101010101013"/>
          <c:y val="0.15671006944444443"/>
          <c:w val="0.70125514621668827"/>
          <c:h val="0.104522569444444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Vývoj podílu potvrzených případů z počtu provedených testů </a:t>
            </a: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301447811447812"/>
          <c:y val="0.27030243055555553"/>
          <c:w val="0.79486414141414141"/>
          <c:h val="0.4332725694444444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1.0602693602693603E-3"/>
                  <c:y val="1.874131944444436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03F-4320-AF59-C361F65367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0.0%</c:formatCode>
                <c:ptCount val="40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303215543877</c:v>
                </c:pt>
                <c:pt idx="29">
                  <c:v>0.18201497650018639</c:v>
                </c:pt>
                <c:pt idx="30">
                  <c:v>0.23258424343165041</c:v>
                </c:pt>
                <c:pt idx="31">
                  <c:v>0.23946110250835509</c:v>
                </c:pt>
                <c:pt idx="32">
                  <c:v>0.22860510028086384</c:v>
                </c:pt>
                <c:pt idx="33">
                  <c:v>0.20245925621938754</c:v>
                </c:pt>
                <c:pt idx="34">
                  <c:v>0.21163377290025667</c:v>
                </c:pt>
                <c:pt idx="35">
                  <c:v>0.21183964880213094</c:v>
                </c:pt>
                <c:pt idx="36">
                  <c:v>0.23592107915749985</c:v>
                </c:pt>
                <c:pt idx="37">
                  <c:v>0.26639871779065466</c:v>
                </c:pt>
                <c:pt idx="38">
                  <c:v>0.25831008411205258</c:v>
                </c:pt>
                <c:pt idx="39">
                  <c:v>0.2338136536214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35-49CD-8FF9-9A59E9E3ECB4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0"/>
                  <c:y val="-7.49652777777777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4E-4418-918A-6FFCAB6943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K$2:$K$41</c:f>
              <c:numCache>
                <c:formatCode>0.0%</c:formatCode>
                <c:ptCount val="40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36924397626721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622229922999</c:v>
                </c:pt>
                <c:pt idx="30">
                  <c:v>0.2159361316289973</c:v>
                </c:pt>
                <c:pt idx="31">
                  <c:v>0.27208032476230926</c:v>
                </c:pt>
                <c:pt idx="32">
                  <c:v>0.30979857654136561</c:v>
                </c:pt>
                <c:pt idx="33">
                  <c:v>0.30674374178675495</c:v>
                </c:pt>
                <c:pt idx="34">
                  <c:v>0.29158460215735654</c:v>
                </c:pt>
                <c:pt idx="35">
                  <c:v>0.28276581560978181</c:v>
                </c:pt>
                <c:pt idx="36">
                  <c:v>0.30223524976597016</c:v>
                </c:pt>
                <c:pt idx="37">
                  <c:v>0.3152936796053244</c:v>
                </c:pt>
                <c:pt idx="38">
                  <c:v>0.29265262155865629</c:v>
                </c:pt>
                <c:pt idx="39">
                  <c:v>0.249560610859588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9-C835-49CD-8FF9-9A59E9E3E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9867693557789119E-3</c:v>
                      </c:pt>
                      <c:pt idx="1">
                        <c:v>1.7590892914005282E-2</c:v>
                      </c:pt>
                      <c:pt idx="2">
                        <c:v>1.8972151244295528E-2</c:v>
                      </c:pt>
                      <c:pt idx="3">
                        <c:v>2.4622415215268364E-2</c:v>
                      </c:pt>
                      <c:pt idx="4">
                        <c:v>2.9400039085401602E-2</c:v>
                      </c:pt>
                      <c:pt idx="5">
                        <c:v>3.4785030105162061E-2</c:v>
                      </c:pt>
                      <c:pt idx="6">
                        <c:v>3.7961907307212252E-2</c:v>
                      </c:pt>
                      <c:pt idx="7">
                        <c:v>4.5126053436085833E-2</c:v>
                      </c:pt>
                      <c:pt idx="8">
                        <c:v>4.9234933224511432E-2</c:v>
                      </c:pt>
                      <c:pt idx="9">
                        <c:v>4.8767781581577324E-2</c:v>
                      </c:pt>
                      <c:pt idx="10">
                        <c:v>4.6002373668990189E-2</c:v>
                      </c:pt>
                      <c:pt idx="11">
                        <c:v>4.3773039436560086E-2</c:v>
                      </c:pt>
                      <c:pt idx="12">
                        <c:v>4.1042621530910532E-2</c:v>
                      </c:pt>
                      <c:pt idx="13">
                        <c:v>4.2871446830841944E-2</c:v>
                      </c:pt>
                      <c:pt idx="14">
                        <c:v>4.7695759737644554E-2</c:v>
                      </c:pt>
                      <c:pt idx="15">
                        <c:v>6.4971478569155944E-2</c:v>
                      </c:pt>
                      <c:pt idx="16">
                        <c:v>8.513971427111891E-2</c:v>
                      </c:pt>
                      <c:pt idx="17">
                        <c:v>9.2231106864128914E-2</c:v>
                      </c:pt>
                      <c:pt idx="18">
                        <c:v>0.11053915290717456</c:v>
                      </c:pt>
                      <c:pt idx="19">
                        <c:v>0.13001104449909845</c:v>
                      </c:pt>
                      <c:pt idx="20">
                        <c:v>0.14918011582909665</c:v>
                      </c:pt>
                      <c:pt idx="21">
                        <c:v>0.15018060024955671</c:v>
                      </c:pt>
                      <c:pt idx="22">
                        <c:v>0.15328191533145796</c:v>
                      </c:pt>
                      <c:pt idx="23">
                        <c:v>0.14208313349320545</c:v>
                      </c:pt>
                      <c:pt idx="24">
                        <c:v>0.11158259972570303</c:v>
                      </c:pt>
                      <c:pt idx="25">
                        <c:v>0.10078891676861121</c:v>
                      </c:pt>
                      <c:pt idx="26">
                        <c:v>0.16588295703197409</c:v>
                      </c:pt>
                      <c:pt idx="27">
                        <c:v>0.25716614769747642</c:v>
                      </c:pt>
                      <c:pt idx="28">
                        <c:v>0.32841639917862037</c:v>
                      </c:pt>
                      <c:pt idx="29">
                        <c:v>0.43336726319136193</c:v>
                      </c:pt>
                      <c:pt idx="30">
                        <c:v>0.41144656441757377</c:v>
                      </c:pt>
                      <c:pt idx="31">
                        <c:v>0.34894464551202148</c:v>
                      </c:pt>
                      <c:pt idx="32">
                        <c:v>0.27074293928181647</c:v>
                      </c:pt>
                      <c:pt idx="33">
                        <c:v>0.20855005696735524</c:v>
                      </c:pt>
                      <c:pt idx="34">
                        <c:v>0.1698831595833033</c:v>
                      </c:pt>
                      <c:pt idx="35">
                        <c:v>0.19520303445738488</c:v>
                      </c:pt>
                      <c:pt idx="36">
                        <c:v>0.23456511572573699</c:v>
                      </c:pt>
                      <c:pt idx="37">
                        <c:v>0.26768668084456576</c:v>
                      </c:pt>
                      <c:pt idx="38">
                        <c:v>0.29048348541699043</c:v>
                      </c:pt>
                      <c:pt idx="39">
                        <c:v>0.2568893609018397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C835-49CD-8FF9-9A59E9E3ECB4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8.7743639303792011E-3</c:v>
                      </c:pt>
                      <c:pt idx="1">
                        <c:v>1.2407202619028043E-2</c:v>
                      </c:pt>
                      <c:pt idx="2">
                        <c:v>2.3378893884813186E-2</c:v>
                      </c:pt>
                      <c:pt idx="3">
                        <c:v>4.2076159564349735E-2</c:v>
                      </c:pt>
                      <c:pt idx="4">
                        <c:v>4.2618263732455378E-2</c:v>
                      </c:pt>
                      <c:pt idx="5">
                        <c:v>4.3305743173333432E-2</c:v>
                      </c:pt>
                      <c:pt idx="6">
                        <c:v>3.5691828298066018E-2</c:v>
                      </c:pt>
                      <c:pt idx="7">
                        <c:v>3.1057260114972538E-2</c:v>
                      </c:pt>
                      <c:pt idx="8">
                        <c:v>2.8494347519878557E-2</c:v>
                      </c:pt>
                      <c:pt idx="9">
                        <c:v>2.4630632269883723E-2</c:v>
                      </c:pt>
                      <c:pt idx="10">
                        <c:v>1.9954781460228933E-2</c:v>
                      </c:pt>
                      <c:pt idx="11">
                        <c:v>1.4879269519677944E-2</c:v>
                      </c:pt>
                      <c:pt idx="12">
                        <c:v>1.2461365680182484E-2</c:v>
                      </c:pt>
                      <c:pt idx="13">
                        <c:v>1.0940178320000707E-2</c:v>
                      </c:pt>
                      <c:pt idx="14">
                        <c:v>1.0219963646944673E-2</c:v>
                      </c:pt>
                      <c:pt idx="15">
                        <c:v>1.1529827699139957E-2</c:v>
                      </c:pt>
                      <c:pt idx="16">
                        <c:v>1.7536007395283458E-2</c:v>
                      </c:pt>
                      <c:pt idx="17">
                        <c:v>2.1321999384926842E-2</c:v>
                      </c:pt>
                      <c:pt idx="18">
                        <c:v>2.9361010393789341E-2</c:v>
                      </c:pt>
                      <c:pt idx="19">
                        <c:v>3.610796744224707E-2</c:v>
                      </c:pt>
                      <c:pt idx="20">
                        <c:v>4.7830374559951212E-2</c:v>
                      </c:pt>
                      <c:pt idx="21">
                        <c:v>5.6620310421184351E-2</c:v>
                      </c:pt>
                      <c:pt idx="22">
                        <c:v>6.4567926298003023E-2</c:v>
                      </c:pt>
                      <c:pt idx="23">
                        <c:v>6.6628787641547255E-2</c:v>
                      </c:pt>
                      <c:pt idx="24">
                        <c:v>6.7942473851072646E-2</c:v>
                      </c:pt>
                      <c:pt idx="25">
                        <c:v>8.3196439462180929E-2</c:v>
                      </c:pt>
                      <c:pt idx="26">
                        <c:v>0.16929061897830538</c:v>
                      </c:pt>
                      <c:pt idx="27">
                        <c:v>0.20191556692272886</c:v>
                      </c:pt>
                      <c:pt idx="28">
                        <c:v>0.22901896117841777</c:v>
                      </c:pt>
                      <c:pt idx="29">
                        <c:v>0.31210067829523158</c:v>
                      </c:pt>
                      <c:pt idx="30">
                        <c:v>0.34234847520375028</c:v>
                      </c:pt>
                      <c:pt idx="31">
                        <c:v>0.33387090359491628</c:v>
                      </c:pt>
                      <c:pt idx="32">
                        <c:v>0.28941657268452214</c:v>
                      </c:pt>
                      <c:pt idx="33">
                        <c:v>0.24508426908678613</c:v>
                      </c:pt>
                      <c:pt idx="34">
                        <c:v>0.20915940943915942</c:v>
                      </c:pt>
                      <c:pt idx="35">
                        <c:v>0.20379597171118383</c:v>
                      </c:pt>
                      <c:pt idx="36">
                        <c:v>0.24874147539318547</c:v>
                      </c:pt>
                      <c:pt idx="37">
                        <c:v>0.26591151964925602</c:v>
                      </c:pt>
                      <c:pt idx="38">
                        <c:v>0.30261640076039831</c:v>
                      </c:pt>
                      <c:pt idx="39">
                        <c:v>0.309975299998055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C835-49CD-8FF9-9A59E9E3ECB4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3408098157885376E-3</c:v>
                      </c:pt>
                      <c:pt idx="1">
                        <c:v>6.8108593800141198E-3</c:v>
                      </c:pt>
                      <c:pt idx="2">
                        <c:v>1.2609648695592545E-2</c:v>
                      </c:pt>
                      <c:pt idx="3">
                        <c:v>2.0863076873790815E-2</c:v>
                      </c:pt>
                      <c:pt idx="4">
                        <c:v>2.5569832545335174E-2</c:v>
                      </c:pt>
                      <c:pt idx="5">
                        <c:v>2.8072768136666513E-2</c:v>
                      </c:pt>
                      <c:pt idx="6">
                        <c:v>3.0902234636871508E-2</c:v>
                      </c:pt>
                      <c:pt idx="7">
                        <c:v>3.146811833628007E-2</c:v>
                      </c:pt>
                      <c:pt idx="8">
                        <c:v>2.8257319762290012E-2</c:v>
                      </c:pt>
                      <c:pt idx="9">
                        <c:v>2.1661329421106046E-2</c:v>
                      </c:pt>
                      <c:pt idx="10">
                        <c:v>1.8084808770974535E-2</c:v>
                      </c:pt>
                      <c:pt idx="11">
                        <c:v>1.510077522533196E-2</c:v>
                      </c:pt>
                      <c:pt idx="12">
                        <c:v>1.2233858110901847E-2</c:v>
                      </c:pt>
                      <c:pt idx="13">
                        <c:v>1.0848527681976311E-2</c:v>
                      </c:pt>
                      <c:pt idx="14">
                        <c:v>9.4715377234737882E-3</c:v>
                      </c:pt>
                      <c:pt idx="15">
                        <c:v>7.3469162632053744E-3</c:v>
                      </c:pt>
                      <c:pt idx="16">
                        <c:v>7.0040055115261094E-3</c:v>
                      </c:pt>
                      <c:pt idx="17">
                        <c:v>9.6101339143124485E-3</c:v>
                      </c:pt>
                      <c:pt idx="18">
                        <c:v>1.1687742090966277E-2</c:v>
                      </c:pt>
                      <c:pt idx="19">
                        <c:v>1.5019348087411023E-2</c:v>
                      </c:pt>
                      <c:pt idx="20">
                        <c:v>1.7749101212906186E-2</c:v>
                      </c:pt>
                      <c:pt idx="21">
                        <c:v>2.1410194881521825E-2</c:v>
                      </c:pt>
                      <c:pt idx="22">
                        <c:v>2.5320089194404895E-2</c:v>
                      </c:pt>
                      <c:pt idx="23">
                        <c:v>3.1835448177544655E-2</c:v>
                      </c:pt>
                      <c:pt idx="24">
                        <c:v>3.7392561339494514E-2</c:v>
                      </c:pt>
                      <c:pt idx="25">
                        <c:v>5.1772223714052108E-2</c:v>
                      </c:pt>
                      <c:pt idx="26">
                        <c:v>0.1099416169886472</c:v>
                      </c:pt>
                      <c:pt idx="27">
                        <c:v>0.16770627660435258</c:v>
                      </c:pt>
                      <c:pt idx="28">
                        <c:v>0.16626931477156651</c:v>
                      </c:pt>
                      <c:pt idx="29">
                        <c:v>0.1642190960980853</c:v>
                      </c:pt>
                      <c:pt idx="30">
                        <c:v>0.14421071026949278</c:v>
                      </c:pt>
                      <c:pt idx="31">
                        <c:v>0.11559724632397134</c:v>
                      </c:pt>
                      <c:pt idx="32">
                        <c:v>0.10701716404592676</c:v>
                      </c:pt>
                      <c:pt idx="33">
                        <c:v>0.10565698458504329</c:v>
                      </c:pt>
                      <c:pt idx="34">
                        <c:v>9.8478015670474747E-2</c:v>
                      </c:pt>
                      <c:pt idx="35">
                        <c:v>9.8978368136378031E-2</c:v>
                      </c:pt>
                      <c:pt idx="36">
                        <c:v>0.12484475110360249</c:v>
                      </c:pt>
                      <c:pt idx="37">
                        <c:v>0.15499804085491697</c:v>
                      </c:pt>
                      <c:pt idx="38">
                        <c:v>0.15188249685427668</c:v>
                      </c:pt>
                      <c:pt idx="39">
                        <c:v>0.1484851393564384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C835-49CD-8FF9-9A59E9E3ECB4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b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903F-4320-AF59-C361F6536748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4.6165145315286956E-3</c:v>
                      </c:pt>
                      <c:pt idx="1">
                        <c:v>5.932112645893565E-3</c:v>
                      </c:pt>
                      <c:pt idx="2">
                        <c:v>7.0108074292987033E-3</c:v>
                      </c:pt>
                      <c:pt idx="3">
                        <c:v>8.5268660553603562E-3</c:v>
                      </c:pt>
                      <c:pt idx="4">
                        <c:v>8.2225220016701999E-3</c:v>
                      </c:pt>
                      <c:pt idx="5">
                        <c:v>7.7855040313979775E-3</c:v>
                      </c:pt>
                      <c:pt idx="6">
                        <c:v>9.8493626882966388E-3</c:v>
                      </c:pt>
                      <c:pt idx="7">
                        <c:v>1.1483342639121534E-2</c:v>
                      </c:pt>
                      <c:pt idx="8">
                        <c:v>1.714011189114634E-2</c:v>
                      </c:pt>
                      <c:pt idx="9">
                        <c:v>2.0650760445524961E-2</c:v>
                      </c:pt>
                      <c:pt idx="10">
                        <c:v>2.344409250449437E-2</c:v>
                      </c:pt>
                      <c:pt idx="11">
                        <c:v>2.7386688359093091E-2</c:v>
                      </c:pt>
                      <c:pt idx="12">
                        <c:v>3.28770989135036E-2</c:v>
                      </c:pt>
                      <c:pt idx="13">
                        <c:v>4.4005792797945746E-2</c:v>
                      </c:pt>
                      <c:pt idx="14">
                        <c:v>5.0057914636011974E-2</c:v>
                      </c:pt>
                      <c:pt idx="15">
                        <c:v>6.8871645587227151E-2</c:v>
                      </c:pt>
                      <c:pt idx="16">
                        <c:v>0.11984589665911424</c:v>
                      </c:pt>
                      <c:pt idx="17">
                        <c:v>0.16136845697309521</c:v>
                      </c:pt>
                      <c:pt idx="18">
                        <c:v>0.20132975089940344</c:v>
                      </c:pt>
                      <c:pt idx="19">
                        <c:v>0.22405975279264989</c:v>
                      </c:pt>
                      <c:pt idx="20">
                        <c:v>0.23216177902514462</c:v>
                      </c:pt>
                      <c:pt idx="21">
                        <c:v>0.24564115866839603</c:v>
                      </c:pt>
                      <c:pt idx="22">
                        <c:v>0.25009453194357678</c:v>
                      </c:pt>
                      <c:pt idx="23">
                        <c:v>0.22101900279405715</c:v>
                      </c:pt>
                      <c:pt idx="24">
                        <c:v>0.18354848356468215</c:v>
                      </c:pt>
                      <c:pt idx="25">
                        <c:v>0.16831643768839721</c:v>
                      </c:pt>
                      <c:pt idx="26">
                        <c:v>0.19135301019947648</c:v>
                      </c:pt>
                      <c:pt idx="27">
                        <c:v>0.22770981837868495</c:v>
                      </c:pt>
                      <c:pt idx="28">
                        <c:v>0.2949646576188617</c:v>
                      </c:pt>
                      <c:pt idx="29">
                        <c:v>0.35231291153411221</c:v>
                      </c:pt>
                      <c:pt idx="30">
                        <c:v>0.39168989017060096</c:v>
                      </c:pt>
                      <c:pt idx="31">
                        <c:v>0.39053801475169325</c:v>
                      </c:pt>
                      <c:pt idx="32">
                        <c:v>0.3739528398421248</c:v>
                      </c:pt>
                      <c:pt idx="33">
                        <c:v>0.29039402488721699</c:v>
                      </c:pt>
                      <c:pt idx="34">
                        <c:v>0.22802537343973808</c:v>
                      </c:pt>
                      <c:pt idx="35">
                        <c:v>0.19537587021779396</c:v>
                      </c:pt>
                      <c:pt idx="36">
                        <c:v>0.16460851287440884</c:v>
                      </c:pt>
                      <c:pt idx="37">
                        <c:v>0.18144811372852207</c:v>
                      </c:pt>
                      <c:pt idx="38">
                        <c:v>0.20324030405592852</c:v>
                      </c:pt>
                      <c:pt idx="39">
                        <c:v>0.2082203553066334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835-49CD-8FF9-9A59E9E3ECB4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5.9877127429687456E-3</c:v>
                      </c:pt>
                      <c:pt idx="1">
                        <c:v>9.0549769935789615E-3</c:v>
                      </c:pt>
                      <c:pt idx="2">
                        <c:v>1.4874993876251286E-2</c:v>
                      </c:pt>
                      <c:pt idx="3">
                        <c:v>2.1098694876174353E-2</c:v>
                      </c:pt>
                      <c:pt idx="4">
                        <c:v>2.6390103328490698E-2</c:v>
                      </c:pt>
                      <c:pt idx="5">
                        <c:v>3.4350560761970128E-2</c:v>
                      </c:pt>
                      <c:pt idx="6">
                        <c:v>5.5997499659520673E-2</c:v>
                      </c:pt>
                      <c:pt idx="7">
                        <c:v>7.1351887382240714E-2</c:v>
                      </c:pt>
                      <c:pt idx="8">
                        <c:v>7.6618176487630446E-2</c:v>
                      </c:pt>
                      <c:pt idx="9">
                        <c:v>7.8566075574703881E-2</c:v>
                      </c:pt>
                      <c:pt idx="10">
                        <c:v>7.0543204821838429E-2</c:v>
                      </c:pt>
                      <c:pt idx="11">
                        <c:v>6.22768139799924E-2</c:v>
                      </c:pt>
                      <c:pt idx="12">
                        <c:v>5.536775679457983E-2</c:v>
                      </c:pt>
                      <c:pt idx="13">
                        <c:v>5.8218246279424499E-2</c:v>
                      </c:pt>
                      <c:pt idx="14">
                        <c:v>6.0168219587863045E-2</c:v>
                      </c:pt>
                      <c:pt idx="15">
                        <c:v>7.5629649173968791E-2</c:v>
                      </c:pt>
                      <c:pt idx="16">
                        <c:v>0.10700188222051653</c:v>
                      </c:pt>
                      <c:pt idx="17">
                        <c:v>0.11714594450419151</c:v>
                      </c:pt>
                      <c:pt idx="18">
                        <c:v>0.1485271193558918</c:v>
                      </c:pt>
                      <c:pt idx="19">
                        <c:v>0.16559503390689187</c:v>
                      </c:pt>
                      <c:pt idx="20">
                        <c:v>0.18791215190644381</c:v>
                      </c:pt>
                      <c:pt idx="21">
                        <c:v>0.20651834965967375</c:v>
                      </c:pt>
                      <c:pt idx="22">
                        <c:v>0.19902584404380319</c:v>
                      </c:pt>
                      <c:pt idx="23">
                        <c:v>0.19408876380765239</c:v>
                      </c:pt>
                      <c:pt idx="24">
                        <c:v>0.17571966033291075</c:v>
                      </c:pt>
                      <c:pt idx="25">
                        <c:v>0.15574790831102037</c:v>
                      </c:pt>
                      <c:pt idx="26">
                        <c:v>0.21735866579763322</c:v>
                      </c:pt>
                      <c:pt idx="27">
                        <c:v>0.22544419767721735</c:v>
                      </c:pt>
                      <c:pt idx="28">
                        <c:v>0.23668168798447159</c:v>
                      </c:pt>
                      <c:pt idx="29">
                        <c:v>0.31526928938272075</c:v>
                      </c:pt>
                      <c:pt idx="30">
                        <c:v>0.43312322745099263</c:v>
                      </c:pt>
                      <c:pt idx="31">
                        <c:v>0.4922949585465563</c:v>
                      </c:pt>
                      <c:pt idx="32">
                        <c:v>0.52494660981351382</c:v>
                      </c:pt>
                      <c:pt idx="33">
                        <c:v>0.54699633395008496</c:v>
                      </c:pt>
                      <c:pt idx="34">
                        <c:v>0.54687835389889805</c:v>
                      </c:pt>
                      <c:pt idx="35">
                        <c:v>0.60050608449155329</c:v>
                      </c:pt>
                      <c:pt idx="36">
                        <c:v>0.60871754432232905</c:v>
                      </c:pt>
                      <c:pt idx="37">
                        <c:v>0.63278429876447018</c:v>
                      </c:pt>
                      <c:pt idx="38">
                        <c:v>0.68036649760843748</c:v>
                      </c:pt>
                      <c:pt idx="39">
                        <c:v>0.5790436363636363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835-49CD-8FF9-9A59E9E3ECB4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2664570792401693E-2</c:v>
                      </c:pt>
                      <c:pt idx="1">
                        <c:v>7.2727847548059665E-2</c:v>
                      </c:pt>
                      <c:pt idx="2">
                        <c:v>9.4513432296560729E-2</c:v>
                      </c:pt>
                      <c:pt idx="3">
                        <c:v>4.2831783230702129E-2</c:v>
                      </c:pt>
                      <c:pt idx="4">
                        <c:v>3.0733414462694352E-2</c:v>
                      </c:pt>
                      <c:pt idx="5">
                        <c:v>2.7825907177032018E-2</c:v>
                      </c:pt>
                      <c:pt idx="6">
                        <c:v>3.1658826627053833E-2</c:v>
                      </c:pt>
                      <c:pt idx="7">
                        <c:v>3.5897827627619984E-2</c:v>
                      </c:pt>
                      <c:pt idx="8">
                        <c:v>4.3226953019873879E-2</c:v>
                      </c:pt>
                      <c:pt idx="9">
                        <c:v>4.5557040469347422E-2</c:v>
                      </c:pt>
                      <c:pt idx="10">
                        <c:v>4.3039102347891683E-2</c:v>
                      </c:pt>
                      <c:pt idx="11">
                        <c:v>3.6923409141183784E-2</c:v>
                      </c:pt>
                      <c:pt idx="12">
                        <c:v>2.4035884092889627E-2</c:v>
                      </c:pt>
                      <c:pt idx="13">
                        <c:v>2.0344820293002074E-2</c:v>
                      </c:pt>
                      <c:pt idx="14">
                        <c:v>3.3619732134112158E-2</c:v>
                      </c:pt>
                      <c:pt idx="15">
                        <c:v>3.4936066849191406E-2</c:v>
                      </c:pt>
                      <c:pt idx="16">
                        <c:v>4.5092329940846172E-2</c:v>
                      </c:pt>
                      <c:pt idx="17">
                        <c:v>6.2254394775862025E-2</c:v>
                      </c:pt>
                      <c:pt idx="18">
                        <c:v>7.3599111462349279E-2</c:v>
                      </c:pt>
                      <c:pt idx="19">
                        <c:v>8.4868908162397103E-2</c:v>
                      </c:pt>
                      <c:pt idx="20">
                        <c:v>0.11660870469067507</c:v>
                      </c:pt>
                      <c:pt idx="21">
                        <c:v>0.11914617732365264</c:v>
                      </c:pt>
                      <c:pt idx="22">
                        <c:v>0.13478692212980434</c:v>
                      </c:pt>
                      <c:pt idx="23">
                        <c:v>0.13769468669025661</c:v>
                      </c:pt>
                      <c:pt idx="24">
                        <c:v>0.13154168453696677</c:v>
                      </c:pt>
                      <c:pt idx="25">
                        <c:v>0.14067017104493687</c:v>
                      </c:pt>
                      <c:pt idx="26">
                        <c:v>0.18941545568425053</c:v>
                      </c:pt>
                      <c:pt idx="27">
                        <c:v>0.25260632833807906</c:v>
                      </c:pt>
                      <c:pt idx="28">
                        <c:v>0.277643370617907</c:v>
                      </c:pt>
                      <c:pt idx="29">
                        <c:v>0.34742478594433246</c:v>
                      </c:pt>
                      <c:pt idx="30">
                        <c:v>0.39496951064092073</c:v>
                      </c:pt>
                      <c:pt idx="31">
                        <c:v>0.43659985403662632</c:v>
                      </c:pt>
                      <c:pt idx="32">
                        <c:v>0.40541792815693611</c:v>
                      </c:pt>
                      <c:pt idx="33">
                        <c:v>0.36555597627161429</c:v>
                      </c:pt>
                      <c:pt idx="34">
                        <c:v>0.3327030306244903</c:v>
                      </c:pt>
                      <c:pt idx="35">
                        <c:v>0.52813455097304551</c:v>
                      </c:pt>
                      <c:pt idx="36">
                        <c:v>0.4757271581594032</c:v>
                      </c:pt>
                      <c:pt idx="37">
                        <c:v>0.44892129178816653</c:v>
                      </c:pt>
                      <c:pt idx="38">
                        <c:v>0.60882658776605092</c:v>
                      </c:pt>
                      <c:pt idx="39">
                        <c:v>0.5670512379330954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835-49CD-8FF9-9A59E9E3ECB4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t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D63C-4E3A-A24A-48493CD09D8D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2.1344901189314447E-3</c:v>
                      </c:pt>
                      <c:pt idx="1">
                        <c:v>2.0111258354252631E-3</c:v>
                      </c:pt>
                      <c:pt idx="2">
                        <c:v>2.3433512530782099E-3</c:v>
                      </c:pt>
                      <c:pt idx="3">
                        <c:v>2.8143125717401832E-3</c:v>
                      </c:pt>
                      <c:pt idx="4">
                        <c:v>3.483765110247946E-3</c:v>
                      </c:pt>
                      <c:pt idx="5">
                        <c:v>3.8001043022869918E-3</c:v>
                      </c:pt>
                      <c:pt idx="6">
                        <c:v>4.7280722475605544E-3</c:v>
                      </c:pt>
                      <c:pt idx="7">
                        <c:v>5.0274835768869819E-3</c:v>
                      </c:pt>
                      <c:pt idx="8">
                        <c:v>6.2417235210754972E-3</c:v>
                      </c:pt>
                      <c:pt idx="9">
                        <c:v>8.9875520632396125E-3</c:v>
                      </c:pt>
                      <c:pt idx="10">
                        <c:v>1.2670956577321677E-2</c:v>
                      </c:pt>
                      <c:pt idx="11">
                        <c:v>1.6751379694115217E-2</c:v>
                      </c:pt>
                      <c:pt idx="12">
                        <c:v>2.0444139194139194E-2</c:v>
                      </c:pt>
                      <c:pt idx="13">
                        <c:v>2.9341924839187968E-2</c:v>
                      </c:pt>
                      <c:pt idx="14">
                        <c:v>4.6197617026627683E-2</c:v>
                      </c:pt>
                      <c:pt idx="15">
                        <c:v>6.6678390888034927E-2</c:v>
                      </c:pt>
                      <c:pt idx="16">
                        <c:v>0.11175634569997235</c:v>
                      </c:pt>
                      <c:pt idx="17">
                        <c:v>0.15054810327419588</c:v>
                      </c:pt>
                      <c:pt idx="18">
                        <c:v>0.19202110339815676</c:v>
                      </c:pt>
                      <c:pt idx="19">
                        <c:v>0.2228222939699312</c:v>
                      </c:pt>
                      <c:pt idx="20">
                        <c:v>0.24583406029879135</c:v>
                      </c:pt>
                      <c:pt idx="21">
                        <c:v>0.25382659606727159</c:v>
                      </c:pt>
                      <c:pt idx="22">
                        <c:v>0.24777299622639223</c:v>
                      </c:pt>
                      <c:pt idx="23">
                        <c:v>0.23529259911104902</c:v>
                      </c:pt>
                      <c:pt idx="24">
                        <c:v>0.20158611181963143</c:v>
                      </c:pt>
                      <c:pt idx="25">
                        <c:v>0.16609146146957882</c:v>
                      </c:pt>
                      <c:pt idx="26">
                        <c:v>0.14003577931714339</c:v>
                      </c:pt>
                      <c:pt idx="27">
                        <c:v>0.14660029373219902</c:v>
                      </c:pt>
                      <c:pt idx="28">
                        <c:v>0.16684218493385919</c:v>
                      </c:pt>
                      <c:pt idx="29">
                        <c:v>0.26552017005285683</c:v>
                      </c:pt>
                      <c:pt idx="30">
                        <c:v>0.30805804850105023</c:v>
                      </c:pt>
                      <c:pt idx="31">
                        <c:v>0.32726372532871495</c:v>
                      </c:pt>
                      <c:pt idx="32">
                        <c:v>0.27033280450631919</c:v>
                      </c:pt>
                      <c:pt idx="33">
                        <c:v>0.21960378876622533</c:v>
                      </c:pt>
                      <c:pt idx="34">
                        <c:v>0.18787704109747963</c:v>
                      </c:pt>
                      <c:pt idx="35">
                        <c:v>0.16463584687441044</c:v>
                      </c:pt>
                      <c:pt idx="36">
                        <c:v>0.16055372600283233</c:v>
                      </c:pt>
                      <c:pt idx="37">
                        <c:v>0.15324408579279702</c:v>
                      </c:pt>
                      <c:pt idx="38">
                        <c:v>0.12322238883498476</c:v>
                      </c:pt>
                      <c:pt idx="39">
                        <c:v>8.8551112839475546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835-49CD-8FF9-9A59E9E3ECB4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t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1A61-4944-9242-40AA8378D634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1.3166365240795764E-4</c:v>
                      </c:pt>
                      <c:pt idx="1">
                        <c:v>2.684131283243138E-4</c:v>
                      </c:pt>
                      <c:pt idx="2">
                        <c:v>6.4438783156001796E-4</c:v>
                      </c:pt>
                      <c:pt idx="3">
                        <c:v>9.0230684916086886E-4</c:v>
                      </c:pt>
                      <c:pt idx="4">
                        <c:v>1.0093815667241268E-3</c:v>
                      </c:pt>
                      <c:pt idx="5">
                        <c:v>1.3509894053988735E-3</c:v>
                      </c:pt>
                      <c:pt idx="6">
                        <c:v>2.2830970728304483E-3</c:v>
                      </c:pt>
                      <c:pt idx="7">
                        <c:v>2.9097161791043053E-3</c:v>
                      </c:pt>
                      <c:pt idx="8">
                        <c:v>3.4908972523427415E-3</c:v>
                      </c:pt>
                      <c:pt idx="9">
                        <c:v>3.9796939162708442E-3</c:v>
                      </c:pt>
                      <c:pt idx="10">
                        <c:v>4.2491950404701072E-3</c:v>
                      </c:pt>
                      <c:pt idx="11">
                        <c:v>4.6210056098766094E-3</c:v>
                      </c:pt>
                      <c:pt idx="12">
                        <c:v>3.7184898056857522E-3</c:v>
                      </c:pt>
                      <c:pt idx="13">
                        <c:v>4.1767487026011648E-3</c:v>
                      </c:pt>
                      <c:pt idx="14">
                        <c:v>3.4909589787743469E-3</c:v>
                      </c:pt>
                      <c:pt idx="15">
                        <c:v>4.2731511735725628E-3</c:v>
                      </c:pt>
                      <c:pt idx="16">
                        <c:v>6.4632300327374589E-3</c:v>
                      </c:pt>
                      <c:pt idx="17">
                        <c:v>1.1246294633142253E-2</c:v>
                      </c:pt>
                      <c:pt idx="18">
                        <c:v>1.1862362084110846E-2</c:v>
                      </c:pt>
                      <c:pt idx="19">
                        <c:v>1.8289901305118796E-2</c:v>
                      </c:pt>
                      <c:pt idx="20">
                        <c:v>1.6461207562456292E-2</c:v>
                      </c:pt>
                      <c:pt idx="21">
                        <c:v>1.0562943044960632E-2</c:v>
                      </c:pt>
                      <c:pt idx="22">
                        <c:v>8.4512810361085551E-3</c:v>
                      </c:pt>
                      <c:pt idx="23">
                        <c:v>5.7847750232577324E-3</c:v>
                      </c:pt>
                      <c:pt idx="24">
                        <c:v>3.1485708829886035E-3</c:v>
                      </c:pt>
                      <c:pt idx="25">
                        <c:v>3.068613133177894E-3</c:v>
                      </c:pt>
                      <c:pt idx="26">
                        <c:v>4.7753666062073158E-3</c:v>
                      </c:pt>
                      <c:pt idx="27">
                        <c:v>1.498984818703231E-2</c:v>
                      </c:pt>
                      <c:pt idx="28">
                        <c:v>1.394991405593265E-2</c:v>
                      </c:pt>
                      <c:pt idx="29">
                        <c:v>2.2645218323759143E-2</c:v>
                      </c:pt>
                      <c:pt idx="30">
                        <c:v>2.8674969143359069E-2</c:v>
                      </c:pt>
                      <c:pt idx="31">
                        <c:v>2.9196393432697258E-2</c:v>
                      </c:pt>
                      <c:pt idx="32">
                        <c:v>3.5410049846169148E-2</c:v>
                      </c:pt>
                      <c:pt idx="33">
                        <c:v>3.1546346213211063E-2</c:v>
                      </c:pt>
                      <c:pt idx="34">
                        <c:v>3.2523194977816541E-2</c:v>
                      </c:pt>
                      <c:pt idx="35">
                        <c:v>3.7523981540620595E-2</c:v>
                      </c:pt>
                      <c:pt idx="36">
                        <c:v>5.1193064417610859E-2</c:v>
                      </c:pt>
                      <c:pt idx="37">
                        <c:v>5.1458171594492765E-2</c:v>
                      </c:pt>
                      <c:pt idx="38">
                        <c:v>5.2791963881928999E-2</c:v>
                      </c:pt>
                      <c:pt idx="39">
                        <c:v>3.3134899838780034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C835-49CD-8FF9-9A59E9E3ECB4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L$2:$L$41</c15:sqref>
                        </c15:formulaRef>
                      </c:ext>
                    </c:extLst>
                    <c:numCache>
                      <c:formatCode>0.0%</c:formatCode>
                      <c:ptCount val="40"/>
                      <c:pt idx="0">
                        <c:v>9.3768115253399731E-2</c:v>
                      </c:pt>
                      <c:pt idx="1">
                        <c:v>0.12834347376879807</c:v>
                      </c:pt>
                      <c:pt idx="2">
                        <c:v>0.14455208446718187</c:v>
                      </c:pt>
                      <c:pt idx="3">
                        <c:v>0.14611957582194521</c:v>
                      </c:pt>
                      <c:pt idx="4">
                        <c:v>0.13041778327379014</c:v>
                      </c:pt>
                      <c:pt idx="5">
                        <c:v>0.11555756267177318</c:v>
                      </c:pt>
                      <c:pt idx="6">
                        <c:v>0.10164894260631076</c:v>
                      </c:pt>
                      <c:pt idx="7">
                        <c:v>8.8058606364100137E-2</c:v>
                      </c:pt>
                      <c:pt idx="8">
                        <c:v>7.1315132931078065E-2</c:v>
                      </c:pt>
                      <c:pt idx="9">
                        <c:v>4.9587483125626455E-2</c:v>
                      </c:pt>
                      <c:pt idx="10">
                        <c:v>3.7510182443527842E-2</c:v>
                      </c:pt>
                      <c:pt idx="11">
                        <c:v>2.8376336440053839E-2</c:v>
                      </c:pt>
                      <c:pt idx="12">
                        <c:v>2.2598640772455818E-2</c:v>
                      </c:pt>
                      <c:pt idx="13">
                        <c:v>1.83899943424711E-2</c:v>
                      </c:pt>
                      <c:pt idx="14">
                        <c:v>1.8177069090042141E-2</c:v>
                      </c:pt>
                      <c:pt idx="15">
                        <c:v>1.9876029504678802E-2</c:v>
                      </c:pt>
                      <c:pt idx="16">
                        <c:v>2.1729916422051129E-2</c:v>
                      </c:pt>
                      <c:pt idx="17">
                        <c:v>2.3953986088817551E-2</c:v>
                      </c:pt>
                      <c:pt idx="18">
                        <c:v>2.9994337517590137E-2</c:v>
                      </c:pt>
                      <c:pt idx="19">
                        <c:v>3.9696952676938825E-2</c:v>
                      </c:pt>
                      <c:pt idx="20">
                        <c:v>5.3803926343344619E-2</c:v>
                      </c:pt>
                      <c:pt idx="21">
                        <c:v>6.6439559353406841E-2</c:v>
                      </c:pt>
                      <c:pt idx="22">
                        <c:v>8.1565176997800332E-2</c:v>
                      </c:pt>
                      <c:pt idx="23">
                        <c:v>0.11180011509277778</c:v>
                      </c:pt>
                      <c:pt idx="24">
                        <c:v>0.14395230304555751</c:v>
                      </c:pt>
                      <c:pt idx="25">
                        <c:v>0.21365425594433154</c:v>
                      </c:pt>
                      <c:pt idx="26">
                        <c:v>0.31220921044658068</c:v>
                      </c:pt>
                      <c:pt idx="27">
                        <c:v>0.39619530039293205</c:v>
                      </c:pt>
                      <c:pt idx="28">
                        <c:v>0.3868389217282675</c:v>
                      </c:pt>
                      <c:pt idx="29">
                        <c:v>0.37772895237088028</c:v>
                      </c:pt>
                      <c:pt idx="30">
                        <c:v>0.34810513396258325</c:v>
                      </c:pt>
                      <c:pt idx="31">
                        <c:v>0.28729705928841853</c:v>
                      </c:pt>
                      <c:pt idx="32">
                        <c:v>0.24300179810738184</c:v>
                      </c:pt>
                      <c:pt idx="33">
                        <c:v>0.19176234994636693</c:v>
                      </c:pt>
                      <c:pt idx="34">
                        <c:v>0.16411649296461028</c:v>
                      </c:pt>
                      <c:pt idx="35">
                        <c:v>0.16300954406518361</c:v>
                      </c:pt>
                      <c:pt idx="36">
                        <c:v>0.16094751250532022</c:v>
                      </c:pt>
                      <c:pt idx="37">
                        <c:v>0.17251561783477798</c:v>
                      </c:pt>
                      <c:pt idx="38">
                        <c:v>0.18301730210201164</c:v>
                      </c:pt>
                      <c:pt idx="39" formatCode="General">
                        <c:v>9.5908103837364991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C835-49CD-8FF9-9A59E9E3ECB4}"/>
                  </c:ext>
                </c:extLst>
              </c15:ser>
            </c15:filteredLineSeries>
          </c:ext>
        </c:extLst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2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i="0" baseline="0" dirty="0">
                    <a:solidFill>
                      <a:schemeClr val="tx1"/>
                    </a:solidFill>
                    <a:effectLst/>
                  </a:rPr>
                  <a:t>Podíl potvrzených případů z počtu provedených testů </a:t>
                </a:r>
                <a:r>
                  <a:rPr lang="cs-CZ" sz="1200" b="1" i="0" u="sng" baseline="0" dirty="0">
                    <a:solidFill>
                      <a:schemeClr val="tx1"/>
                    </a:solidFill>
                    <a:effectLst/>
                  </a:rPr>
                  <a:t>v daném týdnu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5802020202020203E-2"/>
              <c:y val="0.25707326388888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703316498316499"/>
          <c:y val="0.17803541666666664"/>
          <c:w val="0.70125514621668827"/>
          <c:h val="9.5703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dirty="0">
                <a:solidFill>
                  <a:schemeClr val="tx1"/>
                </a:solidFill>
              </a:rPr>
              <a:t>Vývoj 7denního kumulativního počtu úmrtí</a:t>
            </a:r>
          </a:p>
          <a:p>
            <a:pPr>
              <a:defRPr sz="1300" b="1">
                <a:solidFill>
                  <a:schemeClr val="tx1"/>
                </a:solidFill>
              </a:defRPr>
            </a:pPr>
            <a:r>
              <a:rPr lang="cs-CZ" sz="1300" b="1" i="0" u="none" strike="noStrike" baseline="0" dirty="0">
                <a:effectLst/>
              </a:rPr>
              <a:t>od 26. týdne 2021 do 13. týdne 2022 </a:t>
            </a:r>
            <a:endParaRPr lang="cs-CZ" sz="13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4308181818181817"/>
          <c:y val="0.27886527777777775"/>
          <c:w val="0.81467272727272744"/>
          <c:h val="0.4247097222222222"/>
        </c:manualLayout>
      </c:layout>
      <c:lineChart>
        <c:grouping val="standard"/>
        <c:varyColors val="0"/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layout>
                <c:manualLayout>
                  <c:x val="-3.1155218855218856E-2"/>
                  <c:y val="3.41753472222222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88-4FAC-9624-487B0E8BD1E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402382134403423</c:v>
                </c:pt>
                <c:pt idx="26">
                  <c:v>3.8339474350844904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961746088134598</c:v>
                </c:pt>
                <c:pt idx="30">
                  <c:v>1.5335789740337964</c:v>
                </c:pt>
                <c:pt idx="31">
                  <c:v>2.8614339393557415</c:v>
                </c:pt>
                <c:pt idx="32">
                  <c:v>3.6749788828980599</c:v>
                </c:pt>
                <c:pt idx="33">
                  <c:v>3.4318505089658728</c:v>
                </c:pt>
                <c:pt idx="34">
                  <c:v>3.2448286828641906</c:v>
                </c:pt>
                <c:pt idx="35">
                  <c:v>2.6276566567286386</c:v>
                </c:pt>
                <c:pt idx="36">
                  <c:v>1.9169737175422452</c:v>
                </c:pt>
                <c:pt idx="37">
                  <c:v>1.7299518914405627</c:v>
                </c:pt>
                <c:pt idx="38">
                  <c:v>1.7206008001354784</c:v>
                </c:pt>
                <c:pt idx="39">
                  <c:v>1.3091527827117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C48-45EF-814B-A31607E0E332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DF-440E-906F-718F49BD59F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  <c:extLst xmlns:c15="http://schemas.microsoft.com/office/drawing/2012/chart"/>
            </c:strRef>
          </c:cat>
          <c:val>
            <c:numRef>
              <c:f>List1!$L$2:$L$41</c:f>
              <c:numCache>
                <c:formatCode>0.00000</c:formatCode>
                <c:ptCount val="40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  <c:pt idx="35" formatCode="General">
                  <c:v>4.0125521425654282</c:v>
                </c:pt>
                <c:pt idx="36" formatCode="General">
                  <c:v>4.5072503519228091</c:v>
                </c:pt>
                <c:pt idx="37" formatCode="General">
                  <c:v>3.352954530088919</c:v>
                </c:pt>
                <c:pt idx="38" formatCode="General">
                  <c:v>2.9132227884379134</c:v>
                </c:pt>
                <c:pt idx="39" formatCode="General">
                  <c:v>2.711679073514535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9-EC48-45EF-814B-A31607E0E3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  <c:extLst>
          <c:ext xmlns:c15="http://schemas.microsoft.com/office/drawing/2012/chart" uri="{02D57815-91ED-43cb-92C2-25804820EDAC}">
            <c15:filteredLineSeries>
              <c15:ser>
                <c:idx val="9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I$1</c15:sqref>
                        </c15:formulaRef>
                      </c:ext>
                    </c:extLst>
                    <c:strCache>
                      <c:ptCount val="1"/>
                      <c:pt idx="0">
                        <c:v>Belgie</c:v>
                      </c:pt>
                    </c:strCache>
                  </c:strRef>
                </c:tx>
                <c:spPr>
                  <a:ln w="28575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I$2:$I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735743471000934</c:v>
                      </c:pt>
                      <c:pt idx="1">
                        <c:v>8.6787173550046698E-2</c:v>
                      </c:pt>
                      <c:pt idx="2">
                        <c:v>6.0751021485032683E-2</c:v>
                      </c:pt>
                      <c:pt idx="3">
                        <c:v>9.5465890905051351E-2</c:v>
                      </c:pt>
                      <c:pt idx="4">
                        <c:v>0.18225306445509803</c:v>
                      </c:pt>
                      <c:pt idx="5">
                        <c:v>0.19961049916510737</c:v>
                      </c:pt>
                      <c:pt idx="6">
                        <c:v>0.1909317818101027</c:v>
                      </c:pt>
                      <c:pt idx="7">
                        <c:v>0.35582741155519143</c:v>
                      </c:pt>
                      <c:pt idx="8">
                        <c:v>0.2777189553601494</c:v>
                      </c:pt>
                      <c:pt idx="9">
                        <c:v>0.34714869420018679</c:v>
                      </c:pt>
                      <c:pt idx="10">
                        <c:v>0.41657843304022413</c:v>
                      </c:pt>
                      <c:pt idx="11">
                        <c:v>0.3384699768451821</c:v>
                      </c:pt>
                      <c:pt idx="12">
                        <c:v>0.46865073717025213</c:v>
                      </c:pt>
                      <c:pt idx="13">
                        <c:v>0.48600817188026146</c:v>
                      </c:pt>
                      <c:pt idx="14">
                        <c:v>0.53808047601028952</c:v>
                      </c:pt>
                      <c:pt idx="15">
                        <c:v>0.78976327930542489</c:v>
                      </c:pt>
                      <c:pt idx="16">
                        <c:v>0.93730147434050426</c:v>
                      </c:pt>
                      <c:pt idx="17">
                        <c:v>1.2931288858956957</c:v>
                      </c:pt>
                      <c:pt idx="18">
                        <c:v>1.3278437553157143</c:v>
                      </c:pt>
                      <c:pt idx="19">
                        <c:v>1.7010286015809153</c:v>
                      </c:pt>
                      <c:pt idx="20">
                        <c:v>2.256466512301214</c:v>
                      </c:pt>
                      <c:pt idx="21">
                        <c:v>2.5775790544363866</c:v>
                      </c:pt>
                      <c:pt idx="22">
                        <c:v>3.0375510742516338</c:v>
                      </c:pt>
                      <c:pt idx="23">
                        <c:v>2.6904023800514474</c:v>
                      </c:pt>
                      <c:pt idx="24">
                        <c:v>2.1696793387511675</c:v>
                      </c:pt>
                      <c:pt idx="25">
                        <c:v>1.8919603833910179</c:v>
                      </c:pt>
                      <c:pt idx="26">
                        <c:v>1.3452011900257237</c:v>
                      </c:pt>
                      <c:pt idx="27">
                        <c:v>1.128233256150607</c:v>
                      </c:pt>
                      <c:pt idx="28">
                        <c:v>1.206341712345649</c:v>
                      </c:pt>
                      <c:pt idx="29">
                        <c:v>1.5274542544808216</c:v>
                      </c:pt>
                      <c:pt idx="30">
                        <c:v>2.0047837090060785</c:v>
                      </c:pt>
                      <c:pt idx="31">
                        <c:v>2.6122939238564054</c:v>
                      </c:pt>
                      <c:pt idx="32">
                        <c:v>2.7858682709564988</c:v>
                      </c:pt>
                      <c:pt idx="33">
                        <c:v>2.334574968496256</c:v>
                      </c:pt>
                      <c:pt idx="34">
                        <c:v>1.3972734941557516</c:v>
                      </c:pt>
                      <c:pt idx="35">
                        <c:v>1.0154099305355462</c:v>
                      </c:pt>
                      <c:pt idx="36">
                        <c:v>1.1976629949906443</c:v>
                      </c:pt>
                      <c:pt idx="37">
                        <c:v>1.1455906908606164</c:v>
                      </c:pt>
                      <c:pt idx="38">
                        <c:v>1.3538799073807284</c:v>
                      </c:pt>
                      <c:pt idx="39">
                        <c:v>1.275771451185686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EC48-45EF-814B-A31607E0E332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1</c15:sqref>
                        </c15:formulaRef>
                      </c:ext>
                    </c:extLst>
                    <c:strCache>
                      <c:ptCount val="1"/>
                      <c:pt idx="0">
                        <c:v>Francie</c:v>
                      </c:pt>
                    </c:strCache>
                  </c:strRef>
                </c:tx>
                <c:spPr>
                  <a:ln w="28575" cap="rnd">
                    <a:solidFill>
                      <a:srgbClr val="FF7C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D$2:$D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3104565202226921</c:v>
                      </c:pt>
                      <c:pt idx="1">
                        <c:v>0.24509725280738848</c:v>
                      </c:pt>
                      <c:pt idx="2">
                        <c:v>0.18419429907949197</c:v>
                      </c:pt>
                      <c:pt idx="3">
                        <c:v>0.21835937068294611</c:v>
                      </c:pt>
                      <c:pt idx="4">
                        <c:v>0.44266049294910165</c:v>
                      </c:pt>
                      <c:pt idx="5">
                        <c:v>0.53772851828045243</c:v>
                      </c:pt>
                      <c:pt idx="6">
                        <c:v>0.71895194156833953</c:v>
                      </c:pt>
                      <c:pt idx="7">
                        <c:v>1.2626222114320014</c:v>
                      </c:pt>
                      <c:pt idx="8">
                        <c:v>1.1363599902888013</c:v>
                      </c:pt>
                      <c:pt idx="9">
                        <c:v>1.0442628407490551</c:v>
                      </c:pt>
                      <c:pt idx="10">
                        <c:v>0.94028218804289032</c:v>
                      </c:pt>
                      <c:pt idx="11">
                        <c:v>0.7531170131717938</c:v>
                      </c:pt>
                      <c:pt idx="12">
                        <c:v>0.62536935413279127</c:v>
                      </c:pt>
                      <c:pt idx="13">
                        <c:v>0.51247607405181228</c:v>
                      </c:pt>
                      <c:pt idx="14">
                        <c:v>0.37581578763799567</c:v>
                      </c:pt>
                      <c:pt idx="15">
                        <c:v>0.3104565202226921</c:v>
                      </c:pt>
                      <c:pt idx="16">
                        <c:v>0.30302933074368033</c:v>
                      </c:pt>
                      <c:pt idx="17">
                        <c:v>0.31342739601429681</c:v>
                      </c:pt>
                      <c:pt idx="18">
                        <c:v>0.35947597078416976</c:v>
                      </c:pt>
                      <c:pt idx="19">
                        <c:v>0.38027210132540279</c:v>
                      </c:pt>
                      <c:pt idx="20">
                        <c:v>0.49613625719798643</c:v>
                      </c:pt>
                      <c:pt idx="21">
                        <c:v>0.70855387629772315</c:v>
                      </c:pt>
                      <c:pt idx="22">
                        <c:v>0.97741813543794931</c:v>
                      </c:pt>
                      <c:pt idx="23">
                        <c:v>1.4007679357416203</c:v>
                      </c:pt>
                      <c:pt idx="24">
                        <c:v>1.6102146790497522</c:v>
                      </c:pt>
                      <c:pt idx="25">
                        <c:v>1.7795545991712207</c:v>
                      </c:pt>
                      <c:pt idx="26">
                        <c:v>2.0424771067282372</c:v>
                      </c:pt>
                      <c:pt idx="27">
                        <c:v>2.3039141763894517</c:v>
                      </c:pt>
                      <c:pt idx="28">
                        <c:v>2.360360816429941</c:v>
                      </c:pt>
                      <c:pt idx="29">
                        <c:v>2.6396231408407842</c:v>
                      </c:pt>
                      <c:pt idx="30">
                        <c:v>3.0986234506437116</c:v>
                      </c:pt>
                      <c:pt idx="31">
                        <c:v>3.1624972801632132</c:v>
                      </c:pt>
                      <c:pt idx="32">
                        <c:v>3.1907206001834574</c:v>
                      </c:pt>
                      <c:pt idx="33">
                        <c:v>2.7569727346091701</c:v>
                      </c:pt>
                      <c:pt idx="34">
                        <c:v>2.1791373931420543</c:v>
                      </c:pt>
                      <c:pt idx="35">
                        <c:v>1.7290497107139406</c:v>
                      </c:pt>
                      <c:pt idx="36">
                        <c:v>1.2967872830354554</c:v>
                      </c:pt>
                      <c:pt idx="37">
                        <c:v>1.2477678324739778</c:v>
                      </c:pt>
                      <c:pt idx="38">
                        <c:v>1.1378454281846035</c:v>
                      </c:pt>
                      <c:pt idx="39">
                        <c:v>1.22251538824533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EC48-45EF-814B-A31607E0E332}"/>
                  </c:ext>
                </c:extLst>
              </c15:ser>
            </c15:filteredLineSeries>
            <c15:filteredLine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1</c15:sqref>
                        </c15:formulaRef>
                      </c:ext>
                    </c:extLst>
                    <c:strCache>
                      <c:ptCount val="1"/>
                      <c:pt idx="0">
                        <c:v>Itálie</c:v>
                      </c:pt>
                    </c:strCache>
                  </c:strRef>
                </c:tx>
                <c:spPr>
                  <a:ln w="28575" cap="rnd">
                    <a:solidFill>
                      <a:srgbClr val="7030A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F$2:$F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9677327970086864</c:v>
                      </c:pt>
                      <c:pt idx="1">
                        <c:v>0.21126233470231326</c:v>
                      </c:pt>
                      <c:pt idx="2">
                        <c:v>0.15425503803660967</c:v>
                      </c:pt>
                      <c:pt idx="3">
                        <c:v>0.13748818607610863</c:v>
                      </c:pt>
                      <c:pt idx="4">
                        <c:v>0.19449548274181222</c:v>
                      </c:pt>
                      <c:pt idx="5">
                        <c:v>0.2598862053877663</c:v>
                      </c:pt>
                      <c:pt idx="6">
                        <c:v>0.35545726156262231</c:v>
                      </c:pt>
                      <c:pt idx="7">
                        <c:v>0.53486257753998356</c:v>
                      </c:pt>
                      <c:pt idx="8">
                        <c:v>0.57342633704913593</c:v>
                      </c:pt>
                      <c:pt idx="9">
                        <c:v>0.70756115273314446</c:v>
                      </c:pt>
                      <c:pt idx="10">
                        <c:v>0.67738081920424253</c:v>
                      </c:pt>
                      <c:pt idx="11">
                        <c:v>0.65558391165559116</c:v>
                      </c:pt>
                      <c:pt idx="12">
                        <c:v>0.64887717087139074</c:v>
                      </c:pt>
                      <c:pt idx="13">
                        <c:v>0.56001285548073509</c:v>
                      </c:pt>
                      <c:pt idx="14">
                        <c:v>0.45270500293352844</c:v>
                      </c:pt>
                      <c:pt idx="15">
                        <c:v>0.40240444705202522</c:v>
                      </c:pt>
                      <c:pt idx="16">
                        <c:v>0.47785528087427998</c:v>
                      </c:pt>
                      <c:pt idx="17">
                        <c:v>0.45941174371772886</c:v>
                      </c:pt>
                      <c:pt idx="18">
                        <c:v>0.47785528087427998</c:v>
                      </c:pt>
                      <c:pt idx="19">
                        <c:v>0.65390722645954102</c:v>
                      </c:pt>
                      <c:pt idx="20">
                        <c:v>0.67402744881214238</c:v>
                      </c:pt>
                      <c:pt idx="21">
                        <c:v>0.83331254243690223</c:v>
                      </c:pt>
                      <c:pt idx="22">
                        <c:v>0.87355298714210494</c:v>
                      </c:pt>
                      <c:pt idx="23">
                        <c:v>1.0663717846878669</c:v>
                      </c:pt>
                      <c:pt idx="24">
                        <c:v>1.3581150088005851</c:v>
                      </c:pt>
                      <c:pt idx="25">
                        <c:v>1.626384640168602</c:v>
                      </c:pt>
                      <c:pt idx="26">
                        <c:v>1.735369177911859</c:v>
                      </c:pt>
                      <c:pt idx="27">
                        <c:v>2.3339457929017464</c:v>
                      </c:pt>
                      <c:pt idx="28">
                        <c:v>3.4640316150395178</c:v>
                      </c:pt>
                      <c:pt idx="29">
                        <c:v>4.0559014892452048</c:v>
                      </c:pt>
                      <c:pt idx="30">
                        <c:v>4.4029753248275769</c:v>
                      </c:pt>
                      <c:pt idx="31">
                        <c:v>4.3962685840433755</c:v>
                      </c:pt>
                      <c:pt idx="32">
                        <c:v>3.7624815799364359</c:v>
                      </c:pt>
                      <c:pt idx="33">
                        <c:v>3.3097765770029079</c:v>
                      </c:pt>
                      <c:pt idx="34">
                        <c:v>2.6340724429947153</c:v>
                      </c:pt>
                      <c:pt idx="35">
                        <c:v>2.2249612551584899</c:v>
                      </c:pt>
                      <c:pt idx="36">
                        <c:v>1.6448281773251534</c:v>
                      </c:pt>
                      <c:pt idx="37">
                        <c:v>1.5375203247779465</c:v>
                      </c:pt>
                      <c:pt idx="38">
                        <c:v>1.6716551404619548</c:v>
                      </c:pt>
                      <c:pt idx="39">
                        <c:v>1.680038566442205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C48-45EF-814B-A31607E0E332}"/>
                  </c:ext>
                </c:extLst>
              </c15:ser>
            </c15:filteredLineSeries>
            <c15:filteredLineSeries>
              <c15:ser>
                <c:idx val="11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1</c15:sqref>
                        </c15:formulaRef>
                      </c:ext>
                    </c:extLst>
                    <c:strCache>
                      <c:ptCount val="1"/>
                      <c:pt idx="0">
                        <c:v>Maďarsk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t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7C88-4FAC-9624-487B0E8BD1E7}"/>
                      </c:ext>
                    </c:extLst>
                  </c:dLbl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K$2:$K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7.1651377968593361E-2</c:v>
                      </c:pt>
                      <c:pt idx="1">
                        <c:v>0.11259502252207527</c:v>
                      </c:pt>
                      <c:pt idx="2">
                        <c:v>7.1651377968593361E-2</c:v>
                      </c:pt>
                      <c:pt idx="3">
                        <c:v>2.0471822276740961E-2</c:v>
                      </c:pt>
                      <c:pt idx="4">
                        <c:v>5.1179555691852403E-2</c:v>
                      </c:pt>
                      <c:pt idx="5">
                        <c:v>7.1651377968593361E-2</c:v>
                      </c:pt>
                      <c:pt idx="6">
                        <c:v>4.0943644553481921E-2</c:v>
                      </c:pt>
                      <c:pt idx="7">
                        <c:v>0.13306684479881625</c:v>
                      </c:pt>
                      <c:pt idx="8">
                        <c:v>7.1651377968593361E-2</c:v>
                      </c:pt>
                      <c:pt idx="9">
                        <c:v>0.15353866707555719</c:v>
                      </c:pt>
                      <c:pt idx="10">
                        <c:v>0.32754915642785537</c:v>
                      </c:pt>
                      <c:pt idx="11">
                        <c:v>0.40943644553481923</c:v>
                      </c:pt>
                      <c:pt idx="12">
                        <c:v>0.46061600122667157</c:v>
                      </c:pt>
                      <c:pt idx="13">
                        <c:v>0.71651377968593355</c:v>
                      </c:pt>
                      <c:pt idx="14">
                        <c:v>0.65509831285571074</c:v>
                      </c:pt>
                      <c:pt idx="15">
                        <c:v>1.218073425466087</c:v>
                      </c:pt>
                      <c:pt idx="16">
                        <c:v>2.12906951678106</c:v>
                      </c:pt>
                      <c:pt idx="17">
                        <c:v>4.0124771662412284</c:v>
                      </c:pt>
                      <c:pt idx="18">
                        <c:v>6.6840499733559238</c:v>
                      </c:pt>
                      <c:pt idx="19">
                        <c:v>8.9564222460741689</c:v>
                      </c:pt>
                      <c:pt idx="20">
                        <c:v>10.225675227232109</c:v>
                      </c:pt>
                      <c:pt idx="21">
                        <c:v>12.713001633856134</c:v>
                      </c:pt>
                      <c:pt idx="22">
                        <c:v>13.644469547447848</c:v>
                      </c:pt>
                      <c:pt idx="23">
                        <c:v>12.569698877918951</c:v>
                      </c:pt>
                      <c:pt idx="24">
                        <c:v>10.297326605200702</c:v>
                      </c:pt>
                      <c:pt idx="25">
                        <c:v>8.6493449119230554</c:v>
                      </c:pt>
                      <c:pt idx="26">
                        <c:v>6.4076803726199199</c:v>
                      </c:pt>
                      <c:pt idx="27">
                        <c:v>5.1588992137387217</c:v>
                      </c:pt>
                      <c:pt idx="28">
                        <c:v>4.3400263226690834</c:v>
                      </c:pt>
                      <c:pt idx="29">
                        <c:v>3.8794103214424118</c:v>
                      </c:pt>
                      <c:pt idx="30">
                        <c:v>4.7596986793422724</c:v>
                      </c:pt>
                      <c:pt idx="31">
                        <c:v>6.2029621498525103</c:v>
                      </c:pt>
                      <c:pt idx="32">
                        <c:v>6.9194759295384447</c:v>
                      </c:pt>
                      <c:pt idx="33">
                        <c:v>6.6431063288024417</c:v>
                      </c:pt>
                      <c:pt idx="34">
                        <c:v>6.1415466830222885</c:v>
                      </c:pt>
                      <c:pt idx="35">
                        <c:v>4.6163959234050864</c:v>
                      </c:pt>
                      <c:pt idx="36">
                        <c:v>3.1833683640332193</c:v>
                      </c:pt>
                      <c:pt idx="37">
                        <c:v>2.7329882739449181</c:v>
                      </c:pt>
                      <c:pt idx="38">
                        <c:v>2.3133159172717286</c:v>
                      </c:pt>
                      <c:pt idx="39">
                        <c:v>1.944823116290391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C48-45EF-814B-A31607E0E332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1</c15:sqref>
                        </c15:formulaRef>
                      </c:ext>
                    </c:extLst>
                    <c:strCache>
                      <c:ptCount val="1"/>
                      <c:pt idx="0">
                        <c:v>Německo</c:v>
                      </c:pt>
                    </c:strCache>
                  </c:strRef>
                </c:tx>
                <c:spPr>
                  <a:ln w="28575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E$2:$E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190380126971716</c:v>
                      </c:pt>
                      <c:pt idx="1">
                        <c:v>7.3346654288156232E-2</c:v>
                      </c:pt>
                      <c:pt idx="2">
                        <c:v>6.8537037613523033E-2</c:v>
                      </c:pt>
                      <c:pt idx="3">
                        <c:v>8.2965887637422617E-2</c:v>
                      </c:pt>
                      <c:pt idx="4">
                        <c:v>5.7715400095598349E-2</c:v>
                      </c:pt>
                      <c:pt idx="5">
                        <c:v>7.0941845950839633E-2</c:v>
                      </c:pt>
                      <c:pt idx="6">
                        <c:v>9.2585120986689015E-2</c:v>
                      </c:pt>
                      <c:pt idx="7">
                        <c:v>0.15511013775692056</c:v>
                      </c:pt>
                      <c:pt idx="8">
                        <c:v>0.1947894753226444</c:v>
                      </c:pt>
                      <c:pt idx="9">
                        <c:v>0.32585152970639902</c:v>
                      </c:pt>
                      <c:pt idx="10">
                        <c:v>0.394388567319922</c:v>
                      </c:pt>
                      <c:pt idx="11">
                        <c:v>0.52424821753501838</c:v>
                      </c:pt>
                      <c:pt idx="12">
                        <c:v>0.49899772999319397</c:v>
                      </c:pt>
                      <c:pt idx="13">
                        <c:v>0.46893762577673653</c:v>
                      </c:pt>
                      <c:pt idx="14">
                        <c:v>0.48216407163197783</c:v>
                      </c:pt>
                      <c:pt idx="15">
                        <c:v>0.54709389673952591</c:v>
                      </c:pt>
                      <c:pt idx="16">
                        <c:v>0.72144250119497932</c:v>
                      </c:pt>
                      <c:pt idx="17">
                        <c:v>1.0244483516968705</c:v>
                      </c:pt>
                      <c:pt idx="18">
                        <c:v>1.4392777898839837</c:v>
                      </c:pt>
                      <c:pt idx="19">
                        <c:v>1.8961913739741372</c:v>
                      </c:pt>
                      <c:pt idx="20">
                        <c:v>2.3795578497747734</c:v>
                      </c:pt>
                      <c:pt idx="21">
                        <c:v>2.980759934103923</c:v>
                      </c:pt>
                      <c:pt idx="22">
                        <c:v>3.3931845639537195</c:v>
                      </c:pt>
                      <c:pt idx="23">
                        <c:v>3.1707397927519336</c:v>
                      </c:pt>
                      <c:pt idx="24">
                        <c:v>3.0024032091397723</c:v>
                      </c:pt>
                      <c:pt idx="25">
                        <c:v>2.4348684415330553</c:v>
                      </c:pt>
                      <c:pt idx="26">
                        <c:v>1.8829649281188958</c:v>
                      </c:pt>
                      <c:pt idx="27">
                        <c:v>1.4669330857631246</c:v>
                      </c:pt>
                      <c:pt idx="28">
                        <c:v>1.118235876852218</c:v>
                      </c:pt>
                      <c:pt idx="29">
                        <c:v>1.025650755865529</c:v>
                      </c:pt>
                      <c:pt idx="30">
                        <c:v>1.0376747975521119</c:v>
                      </c:pt>
                      <c:pt idx="31">
                        <c:v>1.2456907187299975</c:v>
                      </c:pt>
                      <c:pt idx="32">
                        <c:v>1.5090172316661652</c:v>
                      </c:pt>
                      <c:pt idx="33">
                        <c:v>1.7519028737351416</c:v>
                      </c:pt>
                      <c:pt idx="34">
                        <c:v>1.6557105402424774</c:v>
                      </c:pt>
                      <c:pt idx="35">
                        <c:v>1.6064119693274874</c:v>
                      </c:pt>
                      <c:pt idx="36">
                        <c:v>1.476552319112391</c:v>
                      </c:pt>
                      <c:pt idx="37">
                        <c:v>1.4633258732571497</c:v>
                      </c:pt>
                      <c:pt idx="38">
                        <c:v>1.3887768148003352</c:v>
                      </c:pt>
                      <c:pt idx="39">
                        <c:v>0.7803603054592360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C48-45EF-814B-A31607E0E332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1</c15:sqref>
                        </c15:formulaRef>
                      </c:ext>
                    </c:extLst>
                    <c:strCache>
                      <c:ptCount val="1"/>
                      <c:pt idx="0">
                        <c:v>Nizozemsko</c:v>
                      </c:pt>
                    </c:strCache>
                  </c:strRef>
                </c:tx>
                <c:spPr>
                  <a:ln w="28575" cap="rnd">
                    <a:solidFill>
                      <a:srgbClr val="F75A1C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G$2:$G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8.6169333655415153E-2</c:v>
                      </c:pt>
                      <c:pt idx="1">
                        <c:v>5.7446222436943431E-2</c:v>
                      </c:pt>
                      <c:pt idx="2">
                        <c:v>5.7446222436943431E-2</c:v>
                      </c:pt>
                      <c:pt idx="3">
                        <c:v>0.13787093384866425</c:v>
                      </c:pt>
                      <c:pt idx="4">
                        <c:v>0.16659404506713596</c:v>
                      </c:pt>
                      <c:pt idx="5">
                        <c:v>0.22978488974777372</c:v>
                      </c:pt>
                      <c:pt idx="6">
                        <c:v>0.22978488974777372</c:v>
                      </c:pt>
                      <c:pt idx="7">
                        <c:v>0.25276337872255111</c:v>
                      </c:pt>
                      <c:pt idx="8">
                        <c:v>0.25276337872255111</c:v>
                      </c:pt>
                      <c:pt idx="9">
                        <c:v>0.23552951199146807</c:v>
                      </c:pt>
                      <c:pt idx="10">
                        <c:v>0.183827911798219</c:v>
                      </c:pt>
                      <c:pt idx="11">
                        <c:v>0.25850800096624543</c:v>
                      </c:pt>
                      <c:pt idx="12">
                        <c:v>0.20680640077299639</c:v>
                      </c:pt>
                      <c:pt idx="13">
                        <c:v>0.183827911798219</c:v>
                      </c:pt>
                      <c:pt idx="14">
                        <c:v>0.12638168936127556</c:v>
                      </c:pt>
                      <c:pt idx="15">
                        <c:v>0.25276337872255111</c:v>
                      </c:pt>
                      <c:pt idx="16">
                        <c:v>0.3791450680838267</c:v>
                      </c:pt>
                      <c:pt idx="17">
                        <c:v>0.55722835763835132</c:v>
                      </c:pt>
                      <c:pt idx="18">
                        <c:v>0.86169333655415159</c:v>
                      </c:pt>
                      <c:pt idx="19">
                        <c:v>0.97658578142803831</c:v>
                      </c:pt>
                      <c:pt idx="20">
                        <c:v>1.3442416050244763</c:v>
                      </c:pt>
                      <c:pt idx="21">
                        <c:v>2.0048731630493259</c:v>
                      </c:pt>
                      <c:pt idx="22">
                        <c:v>2.0048731630493259</c:v>
                      </c:pt>
                      <c:pt idx="23">
                        <c:v>2.5448676539565942</c:v>
                      </c:pt>
                      <c:pt idx="24">
                        <c:v>2.0335962742677975</c:v>
                      </c:pt>
                      <c:pt idx="25">
                        <c:v>1.4361555609235859</c:v>
                      </c:pt>
                      <c:pt idx="26">
                        <c:v>1.3959432052177254</c:v>
                      </c:pt>
                      <c:pt idx="27">
                        <c:v>0.70084391373070987</c:v>
                      </c:pt>
                      <c:pt idx="28">
                        <c:v>0.42510204603338148</c:v>
                      </c:pt>
                      <c:pt idx="29">
                        <c:v>0.30446497891580021</c:v>
                      </c:pt>
                      <c:pt idx="30">
                        <c:v>0.33893271237796624</c:v>
                      </c:pt>
                      <c:pt idx="31">
                        <c:v>0.34467733462166061</c:v>
                      </c:pt>
                      <c:pt idx="32">
                        <c:v>0.41361280154599278</c:v>
                      </c:pt>
                      <c:pt idx="33">
                        <c:v>0.49978213520140785</c:v>
                      </c:pt>
                      <c:pt idx="34">
                        <c:v>0.3791450680838267</c:v>
                      </c:pt>
                      <c:pt idx="35">
                        <c:v>0.33318809013427192</c:v>
                      </c:pt>
                      <c:pt idx="36">
                        <c:v>0.59169609110051746</c:v>
                      </c:pt>
                      <c:pt idx="37">
                        <c:v>0.49403751295771353</c:v>
                      </c:pt>
                      <c:pt idx="38">
                        <c:v>0.59744071334421178</c:v>
                      </c:pt>
                      <c:pt idx="39">
                        <c:v>0.6663761802685438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C48-45EF-814B-A31607E0E332}"/>
                  </c:ext>
                </c:extLst>
              </c15:ser>
            </c15:filteredLineSeries>
            <c15:filteredLineSeries>
              <c15:ser>
                <c:idx val="10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1</c15:sqref>
                        </c15:formulaRef>
                      </c:ext>
                    </c:extLst>
                    <c:strCache>
                      <c:ptCount val="1"/>
                      <c:pt idx="0">
                        <c:v>Polsko</c:v>
                      </c:pt>
                    </c:strCache>
                  </c:strRef>
                </c:tx>
                <c:spPr>
                  <a:ln w="28575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layout>
                      <c:manualLayout>
                        <c:x val="-3.1155218855218856E-2"/>
                        <c:y val="-4.740451388888897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B059-40D3-AB18-E0C36B933597}"/>
                      </c:ext>
                    </c:extLst>
                  </c:dLbl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J$2:$J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792550045526469</c:v>
                      </c:pt>
                      <c:pt idx="1">
                        <c:v>0.20812401282697271</c:v>
                      </c:pt>
                      <c:pt idx="2">
                        <c:v>0.1448964646263734</c:v>
                      </c:pt>
                      <c:pt idx="3">
                        <c:v>7.113099172567422E-2</c:v>
                      </c:pt>
                      <c:pt idx="4">
                        <c:v>5.795858585054936E-2</c:v>
                      </c:pt>
                      <c:pt idx="5">
                        <c:v>6.8496510550649245E-2</c:v>
                      </c:pt>
                      <c:pt idx="6">
                        <c:v>4.4786179975424507E-2</c:v>
                      </c:pt>
                      <c:pt idx="7">
                        <c:v>4.4786179975424507E-2</c:v>
                      </c:pt>
                      <c:pt idx="8">
                        <c:v>6.3227548200599309E-2</c:v>
                      </c:pt>
                      <c:pt idx="9">
                        <c:v>9.7475803475923925E-2</c:v>
                      </c:pt>
                      <c:pt idx="10">
                        <c:v>0.12118613405114867</c:v>
                      </c:pt>
                      <c:pt idx="11">
                        <c:v>0.16333783285154821</c:v>
                      </c:pt>
                      <c:pt idx="12">
                        <c:v>0.22129641870209754</c:v>
                      </c:pt>
                      <c:pt idx="13">
                        <c:v>0.32404118452807146</c:v>
                      </c:pt>
                      <c:pt idx="14">
                        <c:v>0.45839972445434496</c:v>
                      </c:pt>
                      <c:pt idx="15">
                        <c:v>0.64808236905614292</c:v>
                      </c:pt>
                      <c:pt idx="16">
                        <c:v>0.87464775010829032</c:v>
                      </c:pt>
                      <c:pt idx="17">
                        <c:v>1.4911163450641336</c:v>
                      </c:pt>
                      <c:pt idx="18">
                        <c:v>1.973226400093703</c:v>
                      </c:pt>
                      <c:pt idx="19">
                        <c:v>2.9453499536779173</c:v>
                      </c:pt>
                      <c:pt idx="20">
                        <c:v>5.1978313583242679</c:v>
                      </c:pt>
                      <c:pt idx="21">
                        <c:v>5.8643550956055854</c:v>
                      </c:pt>
                      <c:pt idx="22">
                        <c:v>6.9655682267660222</c:v>
                      </c:pt>
                      <c:pt idx="23">
                        <c:v>7.400257620645144</c:v>
                      </c:pt>
                      <c:pt idx="24">
                        <c:v>7.9192504121250629</c:v>
                      </c:pt>
                      <c:pt idx="25">
                        <c:v>7.4792920558958924</c:v>
                      </c:pt>
                      <c:pt idx="26">
                        <c:v>8.6042155176315553</c:v>
                      </c:pt>
                      <c:pt idx="27">
                        <c:v>5.6904793380539367</c:v>
                      </c:pt>
                      <c:pt idx="28">
                        <c:v>6.7548097327640244</c:v>
                      </c:pt>
                      <c:pt idx="29">
                        <c:v>4.0491975660133805</c:v>
                      </c:pt>
                      <c:pt idx="30">
                        <c:v>3.4696117075078865</c:v>
                      </c:pt>
                      <c:pt idx="31">
                        <c:v>3.7172529379602337</c:v>
                      </c:pt>
                      <c:pt idx="32">
                        <c:v>4.0307561977882056</c:v>
                      </c:pt>
                      <c:pt idx="33">
                        <c:v>4.4680800728423504</c:v>
                      </c:pt>
                      <c:pt idx="34">
                        <c:v>3.9543562437124811</c:v>
                      </c:pt>
                      <c:pt idx="35">
                        <c:v>3.2483152888057893</c:v>
                      </c:pt>
                      <c:pt idx="36">
                        <c:v>2.3552261704723243</c:v>
                      </c:pt>
                      <c:pt idx="37">
                        <c:v>2.0469918729944023</c:v>
                      </c:pt>
                      <c:pt idx="38">
                        <c:v>1.6017645544151824</c:v>
                      </c:pt>
                      <c:pt idx="39">
                        <c:v>1.36202676748791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C48-45EF-814B-A31607E0E332}"/>
                  </c:ext>
                </c:extLst>
              </c15:ser>
            </c15:filteredLineSeries>
            <c15:filteredLineSeries>
              <c15:ser>
                <c:idx val="1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Rakousko</c:v>
                      </c:pt>
                    </c:strCache>
                  </c:strRef>
                </c:tx>
                <c:spPr>
                  <a:ln w="28575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39"/>
                    <c:dLblPos val="t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1-A18C-44B5-9F08-08C2595A0CF6}"/>
                      </c:ext>
                    </c:extLst>
                  </c:dLbl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:$B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2358073147210266</c:v>
                      </c:pt>
                      <c:pt idx="1">
                        <c:v>2.2469223904018665E-2</c:v>
                      </c:pt>
                      <c:pt idx="2">
                        <c:v>4.4938447808037331E-2</c:v>
                      </c:pt>
                      <c:pt idx="3">
                        <c:v>5.6173059760046662E-2</c:v>
                      </c:pt>
                      <c:pt idx="4">
                        <c:v>4.4938447808037331E-2</c:v>
                      </c:pt>
                      <c:pt idx="5">
                        <c:v>0.10111150756808399</c:v>
                      </c:pt>
                      <c:pt idx="6">
                        <c:v>0.10111150756808399</c:v>
                      </c:pt>
                      <c:pt idx="7">
                        <c:v>7.8642283664065324E-2</c:v>
                      </c:pt>
                      <c:pt idx="8">
                        <c:v>0.30333452270425199</c:v>
                      </c:pt>
                      <c:pt idx="9">
                        <c:v>0.42691525417635462</c:v>
                      </c:pt>
                      <c:pt idx="10">
                        <c:v>0.46061909003238261</c:v>
                      </c:pt>
                      <c:pt idx="11">
                        <c:v>0.75271900078462528</c:v>
                      </c:pt>
                      <c:pt idx="12">
                        <c:v>0.75271900078462528</c:v>
                      </c:pt>
                      <c:pt idx="13">
                        <c:v>0.69654594102457867</c:v>
                      </c:pt>
                      <c:pt idx="14">
                        <c:v>0.69654594102457867</c:v>
                      </c:pt>
                      <c:pt idx="15">
                        <c:v>0.89876895616074659</c:v>
                      </c:pt>
                      <c:pt idx="16">
                        <c:v>0.89876895616074659</c:v>
                      </c:pt>
                      <c:pt idx="17">
                        <c:v>1.1346958071529427</c:v>
                      </c:pt>
                      <c:pt idx="18">
                        <c:v>1.7863033003694837</c:v>
                      </c:pt>
                      <c:pt idx="19">
                        <c:v>3.2018644063226596</c:v>
                      </c:pt>
                      <c:pt idx="20">
                        <c:v>3.6849527202590608</c:v>
                      </c:pt>
                      <c:pt idx="21">
                        <c:v>4.4826101688517239</c:v>
                      </c:pt>
                      <c:pt idx="22">
                        <c:v>4.5163140047077519</c:v>
                      </c:pt>
                      <c:pt idx="23">
                        <c:v>3.7074219441630798</c:v>
                      </c:pt>
                      <c:pt idx="24">
                        <c:v>2.5502569131061184</c:v>
                      </c:pt>
                      <c:pt idx="25">
                        <c:v>1.4380303298571946</c:v>
                      </c:pt>
                      <c:pt idx="26">
                        <c:v>1.1908688669129892</c:v>
                      </c:pt>
                      <c:pt idx="27">
                        <c:v>0.94370740396878394</c:v>
                      </c:pt>
                      <c:pt idx="28">
                        <c:v>0.78642283664065327</c:v>
                      </c:pt>
                      <c:pt idx="29">
                        <c:v>0.87629973225672797</c:v>
                      </c:pt>
                      <c:pt idx="30">
                        <c:v>1.1571650310569614</c:v>
                      </c:pt>
                      <c:pt idx="31">
                        <c:v>1.4942033896172413</c:v>
                      </c:pt>
                      <c:pt idx="32">
                        <c:v>1.9435878676976146</c:v>
                      </c:pt>
                      <c:pt idx="33">
                        <c:v>2.123341658929764</c:v>
                      </c:pt>
                      <c:pt idx="34">
                        <c:v>2.3592685099219599</c:v>
                      </c:pt>
                      <c:pt idx="35">
                        <c:v>2.4266761816340159</c:v>
                      </c:pt>
                      <c:pt idx="36">
                        <c:v>2.089637823073736</c:v>
                      </c:pt>
                      <c:pt idx="37">
                        <c:v>2.5502569131061184</c:v>
                      </c:pt>
                      <c:pt idx="38">
                        <c:v>2.7075414804342492</c:v>
                      </c:pt>
                      <c:pt idx="39">
                        <c:v>2.370503121873968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EC48-45EF-814B-A31607E0E332}"/>
                  </c:ext>
                </c:extLst>
              </c15:ser>
            </c15:filteredLineSeries>
            <c15:filteredLineSeries>
              <c15:ser>
                <c:idx val="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1</c15:sqref>
                        </c15:formulaRef>
                      </c:ext>
                    </c:extLst>
                    <c:strCache>
                      <c:ptCount val="1"/>
                      <c:pt idx="0">
                        <c:v>Španělsk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M$2:$M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1880310265560233</c:v>
                      </c:pt>
                      <c:pt idx="1">
                        <c:v>0.18591831839247247</c:v>
                      </c:pt>
                      <c:pt idx="2">
                        <c:v>0.35704767964008921</c:v>
                      </c:pt>
                      <c:pt idx="3">
                        <c:v>0.80071639398576211</c:v>
                      </c:pt>
                      <c:pt idx="4">
                        <c:v>1.1767784470978087</c:v>
                      </c:pt>
                      <c:pt idx="5">
                        <c:v>1.4619940491771699</c:v>
                      </c:pt>
                      <c:pt idx="6">
                        <c:v>1.6838284063500064</c:v>
                      </c:pt>
                      <c:pt idx="7">
                        <c:v>1.5021355042846356</c:v>
                      </c:pt>
                      <c:pt idx="8">
                        <c:v>1.3394569756912222</c:v>
                      </c:pt>
                      <c:pt idx="9">
                        <c:v>1.138749700153894</c:v>
                      </c:pt>
                      <c:pt idx="10">
                        <c:v>0.88522472052779499</c:v>
                      </c:pt>
                      <c:pt idx="11">
                        <c:v>0.74367327356988988</c:v>
                      </c:pt>
                      <c:pt idx="12">
                        <c:v>0.49648641843444352</c:v>
                      </c:pt>
                      <c:pt idx="13">
                        <c:v>0.3760620531120466</c:v>
                      </c:pt>
                      <c:pt idx="14">
                        <c:v>0.30211726738776779</c:v>
                      </c:pt>
                      <c:pt idx="15">
                        <c:v>0.25775039595320048</c:v>
                      </c:pt>
                      <c:pt idx="16">
                        <c:v>0.24718685513544633</c:v>
                      </c:pt>
                      <c:pt idx="17">
                        <c:v>0.20704540002798072</c:v>
                      </c:pt>
                      <c:pt idx="18">
                        <c:v>0.20493269186442992</c:v>
                      </c:pt>
                      <c:pt idx="19">
                        <c:v>0.3316951816774793</c:v>
                      </c:pt>
                      <c:pt idx="20">
                        <c:v>0.31479351636907271</c:v>
                      </c:pt>
                      <c:pt idx="21">
                        <c:v>0.38451288576624992</c:v>
                      </c:pt>
                      <c:pt idx="22">
                        <c:v>0.5788820368129256</c:v>
                      </c:pt>
                      <c:pt idx="23">
                        <c:v>0.69930640213532258</c:v>
                      </c:pt>
                      <c:pt idx="24">
                        <c:v>0.99086012870533613</c:v>
                      </c:pt>
                      <c:pt idx="25">
                        <c:v>1.1641021981165038</c:v>
                      </c:pt>
                      <c:pt idx="26">
                        <c:v>1.4514305083594157</c:v>
                      </c:pt>
                      <c:pt idx="27">
                        <c:v>1.8929865145415379</c:v>
                      </c:pt>
                      <c:pt idx="28">
                        <c:v>2.6387724962749783</c:v>
                      </c:pt>
                      <c:pt idx="29">
                        <c:v>3.0824412106206514</c:v>
                      </c:pt>
                      <c:pt idx="30">
                        <c:v>3.4373761820971898</c:v>
                      </c:pt>
                      <c:pt idx="31">
                        <c:v>3.3592059800458096</c:v>
                      </c:pt>
                      <c:pt idx="32">
                        <c:v>2.7908874840506379</c:v>
                      </c:pt>
                      <c:pt idx="33">
                        <c:v>1.857070475761174</c:v>
                      </c:pt>
                      <c:pt idx="34">
                        <c:v>1.2887519797660023</c:v>
                      </c:pt>
                      <c:pt idx="35">
                        <c:v>1.0584667899389626</c:v>
                      </c:pt>
                      <c:pt idx="36">
                        <c:v>0.86621034705583755</c:v>
                      </c:pt>
                      <c:pt idx="37">
                        <c:v>0.60845995110263718</c:v>
                      </c:pt>
                      <c:pt idx="38">
                        <c:v>0.3338078898410301</c:v>
                      </c:pt>
                      <c:pt idx="39">
                        <c:v>1.9014373471957412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EC48-45EF-814B-A31607E0E332}"/>
                  </c:ext>
                </c:extLst>
              </c15:ser>
            </c15:filteredLineSeries>
            <c15:filteredLineSeries>
              <c15:ser>
                <c:idx val="8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1</c15:sqref>
                        </c15:formulaRef>
                      </c:ext>
                    </c:extLst>
                    <c:strCache>
                      <c:ptCount val="1"/>
                      <c:pt idx="0">
                        <c:v>Velká Británie</c:v>
                      </c:pt>
                    </c:strCache>
                  </c:strRef>
                </c:tx>
                <c:spPr>
                  <a:ln w="28575" cap="rnd">
                    <a:solidFill>
                      <a:schemeClr val="bg1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27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B-EC48-45EF-814B-A31607E0E332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:$A$41</c15:sqref>
                        </c15:formulaRef>
                      </c:ext>
                    </c:extLst>
                    <c:strCache>
                      <c:ptCount val="40"/>
                      <c:pt idx="0">
                        <c:v>26. týden</c:v>
                      </c:pt>
                      <c:pt idx="1">
                        <c:v>27. týden</c:v>
                      </c:pt>
                      <c:pt idx="2">
                        <c:v>28. týden</c:v>
                      </c:pt>
                      <c:pt idx="3">
                        <c:v>29. týden</c:v>
                      </c:pt>
                      <c:pt idx="4">
                        <c:v>30. týden</c:v>
                      </c:pt>
                      <c:pt idx="5">
                        <c:v>31. týden</c:v>
                      </c:pt>
                      <c:pt idx="6">
                        <c:v>32. týden</c:v>
                      </c:pt>
                      <c:pt idx="7">
                        <c:v>33. týden</c:v>
                      </c:pt>
                      <c:pt idx="8">
                        <c:v>34. týden</c:v>
                      </c:pt>
                      <c:pt idx="9">
                        <c:v>35. týden</c:v>
                      </c:pt>
                      <c:pt idx="10">
                        <c:v>36. týden</c:v>
                      </c:pt>
                      <c:pt idx="11">
                        <c:v>37. týden</c:v>
                      </c:pt>
                      <c:pt idx="12">
                        <c:v>38. týden</c:v>
                      </c:pt>
                      <c:pt idx="13">
                        <c:v>39. týden</c:v>
                      </c:pt>
                      <c:pt idx="14">
                        <c:v>40. týden</c:v>
                      </c:pt>
                      <c:pt idx="15">
                        <c:v>41. týden</c:v>
                      </c:pt>
                      <c:pt idx="16">
                        <c:v>42. týden</c:v>
                      </c:pt>
                      <c:pt idx="17">
                        <c:v>43. týden</c:v>
                      </c:pt>
                      <c:pt idx="18">
                        <c:v>44. týden</c:v>
                      </c:pt>
                      <c:pt idx="19">
                        <c:v>45. týden</c:v>
                      </c:pt>
                      <c:pt idx="20">
                        <c:v>46. týden</c:v>
                      </c:pt>
                      <c:pt idx="21">
                        <c:v>47. týden</c:v>
                      </c:pt>
                      <c:pt idx="22">
                        <c:v>48. týden</c:v>
                      </c:pt>
                      <c:pt idx="23">
                        <c:v>49. týden</c:v>
                      </c:pt>
                      <c:pt idx="24">
                        <c:v>50. týden</c:v>
                      </c:pt>
                      <c:pt idx="25">
                        <c:v>51. týden</c:v>
                      </c:pt>
                      <c:pt idx="26">
                        <c:v>52. týden 2021</c:v>
                      </c:pt>
                      <c:pt idx="27">
                        <c:v>1. týden 2022</c:v>
                      </c:pt>
                      <c:pt idx="28">
                        <c:v>2. týden</c:v>
                      </c:pt>
                      <c:pt idx="29">
                        <c:v>3. týden</c:v>
                      </c:pt>
                      <c:pt idx="30">
                        <c:v>4. týden</c:v>
                      </c:pt>
                      <c:pt idx="31">
                        <c:v>5. týden</c:v>
                      </c:pt>
                      <c:pt idx="32">
                        <c:v>6. týden</c:v>
                      </c:pt>
                      <c:pt idx="33">
                        <c:v>7. týden</c:v>
                      </c:pt>
                      <c:pt idx="34">
                        <c:v>8. týden</c:v>
                      </c:pt>
                      <c:pt idx="35">
                        <c:v>9. týden</c:v>
                      </c:pt>
                      <c:pt idx="36">
                        <c:v>10. týden</c:v>
                      </c:pt>
                      <c:pt idx="37">
                        <c:v>11. týden</c:v>
                      </c:pt>
                      <c:pt idx="38">
                        <c:v>12. týden</c:v>
                      </c:pt>
                      <c:pt idx="39">
                        <c:v>13. týden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H$2:$H$41</c15:sqref>
                        </c15:formulaRef>
                      </c:ext>
                    </c:extLst>
                    <c:numCache>
                      <c:formatCode>General</c:formatCode>
                      <c:ptCount val="40"/>
                      <c:pt idx="0">
                        <c:v>0.24831081426067519</c:v>
                      </c:pt>
                      <c:pt idx="1">
                        <c:v>0.37760875304729896</c:v>
                      </c:pt>
                      <c:pt idx="2">
                        <c:v>0.52306893418225076</c:v>
                      </c:pt>
                      <c:pt idx="3">
                        <c:v>0.73464737946945324</c:v>
                      </c:pt>
                      <c:pt idx="4">
                        <c:v>0.893331213434855</c:v>
                      </c:pt>
                      <c:pt idx="5">
                        <c:v>0.89039262391697738</c:v>
                      </c:pt>
                      <c:pt idx="6">
                        <c:v>0.95063370903347244</c:v>
                      </c:pt>
                      <c:pt idx="7">
                        <c:v>1.0960938901684243</c:v>
                      </c:pt>
                      <c:pt idx="8">
                        <c:v>1.2180453551603534</c:v>
                      </c:pt>
                      <c:pt idx="9">
                        <c:v>1.335588935875466</c:v>
                      </c:pt>
                      <c:pt idx="10">
                        <c:v>1.5104350121891958</c:v>
                      </c:pt>
                      <c:pt idx="11">
                        <c:v>1.4487246323137617</c:v>
                      </c:pt>
                      <c:pt idx="12">
                        <c:v>1.3150188092503212</c:v>
                      </c:pt>
                      <c:pt idx="13">
                        <c:v>1.1710279228743086</c:v>
                      </c:pt>
                      <c:pt idx="14">
                        <c:v>1.148988501490225</c:v>
                      </c:pt>
                      <c:pt idx="15">
                        <c:v>1.337058230634405</c:v>
                      </c:pt>
                      <c:pt idx="16">
                        <c:v>1.4972113593587457</c:v>
                      </c:pt>
                      <c:pt idx="17">
                        <c:v>1.7322985207889707</c:v>
                      </c:pt>
                      <c:pt idx="18">
                        <c:v>1.6867503832618647</c:v>
                      </c:pt>
                      <c:pt idx="19">
                        <c:v>1.4766412327336012</c:v>
                      </c:pt>
                      <c:pt idx="20">
                        <c:v>1.3914221367151445</c:v>
                      </c:pt>
                      <c:pt idx="21">
                        <c:v>1.2797557350357875</c:v>
                      </c:pt>
                      <c:pt idx="22">
                        <c:v>1.2283304184729258</c:v>
                      </c:pt>
                      <c:pt idx="23">
                        <c:v>1.1960059337762698</c:v>
                      </c:pt>
                      <c:pt idx="24">
                        <c:v>1.1519270910081025</c:v>
                      </c:pt>
                      <c:pt idx="25">
                        <c:v>1.2062909970888422</c:v>
                      </c:pt>
                      <c:pt idx="26">
                        <c:v>0</c:v>
                      </c:pt>
                      <c:pt idx="27">
                        <c:v>2.3640952671327007</c:v>
                      </c:pt>
                      <c:pt idx="28">
                        <c:v>2.8166380528858839</c:v>
                      </c:pt>
                      <c:pt idx="29">
                        <c:v>2.7152567145190991</c:v>
                      </c:pt>
                      <c:pt idx="30">
                        <c:v>1.7837238373518325</c:v>
                      </c:pt>
                      <c:pt idx="31">
                        <c:v>2.1657404746759479</c:v>
                      </c:pt>
                      <c:pt idx="32">
                        <c:v>1.8909823547543727</c:v>
                      </c:pt>
                      <c:pt idx="33">
                        <c:v>1.4340316847243728</c:v>
                      </c:pt>
                      <c:pt idx="34">
                        <c:v>1.1460499119723471</c:v>
                      </c:pt>
                      <c:pt idx="35">
                        <c:v>1.1548656805259805</c:v>
                      </c:pt>
                      <c:pt idx="36">
                        <c:v>1.3693827153310609</c:v>
                      </c:pt>
                      <c:pt idx="37">
                        <c:v>0.86247602349713814</c:v>
                      </c:pt>
                      <c:pt idx="38">
                        <c:v>1.1578042700438582</c:v>
                      </c:pt>
                      <c:pt idx="39">
                        <c:v>1.94828485035298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EC48-45EF-814B-A31607E0E332}"/>
                  </c:ext>
                </c:extLst>
              </c15:ser>
            </c15:filteredLineSeries>
          </c:ext>
        </c:extLst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2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7 denní kumulativní počet úmrtí na 100 tisíc osob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7288047138047141E-2"/>
              <c:y val="0.270045833333333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72676767676771"/>
          <c:y val="0.16480624999999999"/>
          <c:w val="0.70125514621668827"/>
          <c:h val="9.5703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cs-CZ" sz="1300" b="1" i="0" u="none" strike="noStrike" baseline="0" dirty="0">
                <a:solidFill>
                  <a:schemeClr val="tx1"/>
                </a:solidFill>
                <a:effectLst/>
              </a:rPr>
              <a:t>Srovnání podílů osob s vykázaným úplným očkováním a osob s vykázaným očkováním posilující dávkou k 6.4. 2022</a:t>
            </a:r>
            <a:endParaRPr lang="cs-CZ" sz="13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7620336700336697"/>
          <c:y val="3.08680555555555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7429747474747476"/>
          <c:y val="0.19432152777777778"/>
          <c:w val="0.77783215488215485"/>
          <c:h val="0.5688368055555556"/>
        </c:manualLayout>
      </c:layout>
      <c:scatterChart>
        <c:scatterStyle val="lineMarker"/>
        <c:varyColors val="0"/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600000000000003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BDC7-4A4B-8526-DEF59504DBF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  <c:extLst xmlns:c15="http://schemas.microsoft.com/office/drawing/2012/chart"/>
            </c:strRef>
          </c:tx>
          <c:spPr>
            <a:ln w="25400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50000"/>
                </a:schemeClr>
              </a:solidFill>
              <a:ln w="9525">
                <a:solidFill>
                  <a:schemeClr val="accent3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882323232323232E-2"/>
                  <c:y val="-3.103125E-3"/>
                </c:manualLayout>
              </c:layout>
              <c:showLegendKey val="0"/>
              <c:showVal val="1"/>
              <c:showCatName val="1"/>
              <c:showSerName val="1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BDC7-4A4B-8526-DEF59504DB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799999999999999</c:v>
                </c:pt>
              </c:numCache>
              <c:extLst xmlns:c15="http://schemas.microsoft.com/office/drawing/2012/chart"/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899999999999998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35-BDC7-4A4B-8526-DEF59504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C$3</c15:sqref>
                        </c15:formulaRef>
                      </c:ext>
                    </c:extLst>
                    <c:strCache>
                      <c:ptCount val="1"/>
                      <c:pt idx="0">
                        <c:v>B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0070C0"/>
                    </a:solidFill>
                    <a:ln w="9525">
                      <a:solidFill>
                        <a:srgbClr val="0070C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6.565258394820952E-3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>
                      <c:ext uri="{02D57815-91ED-43cb-92C2-25804820EDAC}">
                        <c15:formulaRef>
                          <c15:sqref>List1!$B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List1!$A$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9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BDC7-4A4B-8526-DEF59504DBFC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</c15:sqref>
                        </c15:formulaRef>
                      </c:ext>
                    </c:extLst>
                    <c:strCache>
                      <c:ptCount val="1"/>
                      <c:pt idx="0">
                        <c:v>AT</c:v>
                      </c:pt>
                    </c:strCache>
                  </c:strRef>
                </c:tx>
                <c:spPr>
                  <a:ln w="25400" cap="rnd">
                    <a:solidFill>
                      <a:srgbClr val="92D050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92D050"/>
                    </a:solidFill>
                    <a:ln w="9525">
                      <a:solidFill>
                        <a:srgbClr val="92D05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1688510738611633E-3"/>
                        <c:y val="2.3331863609641389E-3"/>
                      </c:manualLayout>
                    </c:layout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1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60000000000000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32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DC7-4A4B-8526-DEF59504DBFC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4</c15:sqref>
                        </c15:formulaRef>
                      </c:ext>
                    </c:extLst>
                    <c:strCache>
                      <c:ptCount val="1"/>
                      <c:pt idx="0">
                        <c:v>BG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47606396832839E-2"/>
                        <c:y val="2.333186360964096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2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51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DC7-4A4B-8526-DEF59504DBFC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5</c15:sqref>
                        </c15:formulaRef>
                      </c:ext>
                    </c:extLst>
                    <c:strCache>
                      <c:ptCount val="1"/>
                      <c:pt idx="0">
                        <c:v>H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127526924636813E-2"/>
                        <c:y val="4.6663727219282778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26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6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BDC7-4A4B-8526-DEF59504DBFC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6</c15:sqref>
                        </c15:formulaRef>
                      </c:ext>
                    </c:extLst>
                    <c:strCache>
                      <c:ptCount val="1"/>
                      <c:pt idx="0">
                        <c:v>CY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5096810823816598E-2"/>
                        <c:y val="-1.8665490887713111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8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DC7-4A4B-8526-DEF59504DBFC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8</c15:sqref>
                        </c15:formulaRef>
                      </c:ext>
                    </c:extLst>
                    <c:strCache>
                      <c:ptCount val="1"/>
                      <c:pt idx="0">
                        <c:v>DK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023962857688971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4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3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BDC7-4A4B-8526-DEF59504DBFC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9</c15:sqref>
                        </c15:formulaRef>
                      </c:ext>
                    </c:extLst>
                    <c:strCache>
                      <c:ptCount val="1"/>
                      <c:pt idx="0">
                        <c:v>E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196545869262337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119999999999999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099999999999998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DC7-4A4B-8526-DEF59504DBFC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0</c15:sqref>
                        </c15:formulaRef>
                      </c:ext>
                    </c:extLst>
                    <c:strCache>
                      <c:ptCount val="1"/>
                      <c:pt idx="0">
                        <c:v>F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758208085816809E-2"/>
                        <c:y val="-4.666372721928277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42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70000000000000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BDC7-4A4B-8526-DEF59504DBFC}"/>
                  </c:ext>
                </c:extLst>
              </c15:ser>
            </c15:filteredScatterSeries>
            <c15:filteredScatte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1</c15:sqref>
                        </c15:formulaRef>
                      </c:ext>
                    </c:extLst>
                    <c:strCache>
                      <c:ptCount val="1"/>
                      <c:pt idx="0">
                        <c:v>FR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</a:schemeClr>
                    </a:solidFill>
                    <a:ln w="9525">
                      <a:solidFill>
                        <a:schemeClr val="accent4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051377057258783E-3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82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5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BDC7-4A4B-8526-DEF59504DBFC}"/>
                  </c:ext>
                </c:extLst>
              </c15:ser>
            </c15:filteredScatterSeries>
            <c15:filteredScatte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2</c15:sqref>
                        </c15:formulaRef>
                      </c:ext>
                    </c:extLst>
                    <c:strCache>
                      <c:ptCount val="1"/>
                      <c:pt idx="0">
                        <c:v>DE</c:v>
                      </c:pt>
                    </c:strCache>
                  </c:strRef>
                </c:tx>
                <c:spPr>
                  <a:ln w="25400" cap="rnd">
                    <a:solidFill>
                      <a:srgbClr val="FFC000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FFC000"/>
                    </a:solidFill>
                    <a:ln w="9525">
                      <a:solidFill>
                        <a:srgbClr val="FFC00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0779589409237369E-2"/>
                        <c:y val="2.9982363315696433E-3"/>
                      </c:manualLayout>
                    </c:layout>
                    <c:dLblPos val="r"/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t"/>
                  <c:showLegendKey val="0"/>
                  <c:showVal val="1"/>
                  <c:showCatName val="1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029999999999999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09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5-BDC7-4A4B-8526-DEF59504DBFC}"/>
                  </c:ext>
                </c:extLst>
              </c15:ser>
            </c15:filteredScatterSeries>
            <c15:filteredScatte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3</c15:sqref>
                        </c15:formulaRef>
                      </c:ext>
                    </c:extLst>
                    <c:strCache>
                      <c:ptCount val="1"/>
                      <c:pt idx="0">
                        <c:v>E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60000"/>
                      </a:schemeClr>
                    </a:solidFill>
                    <a:ln w="9525">
                      <a:solidFill>
                        <a:schemeClr val="accent6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3195552404790468E-2"/>
                        <c:y val="4.666372721928277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8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17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7-BDC7-4A4B-8526-DEF59504DBFC}"/>
                  </c:ext>
                </c:extLst>
              </c15:ser>
            </c15:filteredScatterSeries>
            <c15:filteredScatte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4</c15:sqref>
                        </c15:formulaRef>
                      </c:ext>
                    </c:extLst>
                    <c:strCache>
                      <c:ptCount val="1"/>
                      <c:pt idx="0">
                        <c:v>HU</c:v>
                      </c:pt>
                    </c:strCache>
                  </c:strRef>
                </c:tx>
                <c:spPr>
                  <a:ln w="25400" cap="rnd">
                    <a:solidFill>
                      <a:schemeClr val="accent2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50000"/>
                      </a:schemeClr>
                    </a:solidFill>
                    <a:ln w="9525">
                      <a:solidFill>
                        <a:schemeClr val="accent2">
                          <a:lumMod val="5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7663468013468012E-2"/>
                        <c:y val="3.9687500000000001E-2"/>
                      </c:manualLayout>
                    </c:layout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467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9-BDC7-4A4B-8526-DEF59504DBFC}"/>
                  </c:ext>
                </c:extLst>
              </c15:ser>
            </c15:filteredScatterSeries>
            <c15:filteredScatte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5</c15:sqref>
                        </c15:formulaRef>
                      </c:ext>
                    </c:extLst>
                    <c:strCache>
                      <c:ptCount val="1"/>
                      <c:pt idx="0">
                        <c:v>I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8.2863250904636667E-3"/>
                        <c:y val="0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24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B-BDC7-4A4B-8526-DEF59504DBFC}"/>
                  </c:ext>
                </c:extLst>
              </c15:ser>
            </c15:filteredScatterSeries>
            <c15:filteredScatte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6</c15:sqref>
                        </c15:formulaRef>
                      </c:ext>
                    </c:extLst>
                    <c:strCache>
                      <c:ptCount val="1"/>
                      <c:pt idx="0">
                        <c:v>I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255382592350299E-2"/>
                        <c:y val="-2.333186360964138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5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6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D-BDC7-4A4B-8526-DEF59504DBFC}"/>
                  </c:ext>
                </c:extLst>
              </c15:ser>
            </c15:filteredScatterSeries>
            <c15:filteredScatte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7</c15:sqref>
                        </c15:formulaRef>
                      </c:ext>
                    </c:extLst>
                    <c:strCache>
                      <c:ptCount val="1"/>
                      <c:pt idx="0">
                        <c:v>I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0286409019268361E-2"/>
                        <c:y val="1.3334251910640778E-2"/>
                      </c:manualLayout>
                    </c:layout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dLblPos val="b"/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4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7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F-BDC7-4A4B-8526-DEF59504DBFC}"/>
                  </c:ext>
                </c:extLst>
              </c15:ser>
            </c15:filteredScatterSeries>
            <c15:filteredScatte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8</c15:sqref>
                        </c15:formulaRef>
                      </c:ext>
                    </c:extLst>
                    <c:strCache>
                      <c:ptCount val="1"/>
                      <c:pt idx="0">
                        <c:v>LV</c:v>
                      </c:pt>
                    </c:strCache>
                  </c:strRef>
                </c:tx>
                <c:spPr>
                  <a:ln w="2540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tx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1.6253773343027682E-2"/>
                        <c:y val="1.6332304526748928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330000000000000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8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1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1-BDC7-4A4B-8526-DEF59504DBFC}"/>
                  </c:ext>
                </c:extLst>
              </c15:ser>
            </c15:filteredScatterSeries>
            <c15:filteredScatterSeries>
              <c15:ser>
                <c:idx val="2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19</c15:sqref>
                        </c15:formulaRef>
                      </c:ext>
                    </c:extLst>
                    <c:strCache>
                      <c:ptCount val="1"/>
                      <c:pt idx="0">
                        <c:v>LI</c:v>
                      </c:pt>
                    </c:strCache>
                  </c:strRef>
                </c:tx>
                <c:spPr>
                  <a:ln w="25400" cap="rnd">
                    <a:solidFill>
                      <a:schemeClr val="accent1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75000"/>
                      </a:schemeClr>
                    </a:solidFill>
                    <a:ln w="9525">
                      <a:solidFill>
                        <a:schemeClr val="accent1">
                          <a:lumMod val="75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9.7388985409937612E-3"/>
                        <c:y val="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620000000000000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1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7700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3-BDC7-4A4B-8526-DEF59504DBFC}"/>
                  </c:ext>
                </c:extLst>
              </c15:ser>
            </c15:filteredScatterSeries>
            <c15:filteredScatterSeries>
              <c15:ser>
                <c:idx val="17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0</c15:sqref>
                        </c15:formulaRef>
                      </c:ext>
                    </c:extLst>
                    <c:strCache>
                      <c:ptCount val="1"/>
                      <c:pt idx="0">
                        <c:v>L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  <a:lumOff val="20000"/>
                      </a:schemeClr>
                    </a:solidFill>
                    <a:ln w="9525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431493902467101E-2"/>
                        <c:y val="-6.9995590828924158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4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83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1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5-BDC7-4A4B-8526-DEF59504DBFC}"/>
                  </c:ext>
                </c:extLst>
              </c15:ser>
            </c15:filteredScatterSeries>
            <c15:filteredScatterSeries>
              <c15:ser>
                <c:idx val="18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1</c15:sqref>
                        </c15:formulaRef>
                      </c:ext>
                    </c:extLst>
                    <c:strCache>
                      <c:ptCount val="1"/>
                      <c:pt idx="0">
                        <c:v>LU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80000"/>
                      </a:schemeClr>
                    </a:solidFill>
                    <a:ln w="9525">
                      <a:solidFill>
                        <a:schemeClr val="accent1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6428891188672612E-2"/>
                        <c:y val="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1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30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7-BDC7-4A4B-8526-DEF59504DBFC}"/>
                  </c:ext>
                </c:extLst>
              </c15:ser>
            </c15:filteredScatterSeries>
            <c15:filteredScatterSeries>
              <c15:ser>
                <c:idx val="19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2</c15:sqref>
                        </c15:formulaRef>
                      </c:ext>
                    </c:extLst>
                    <c:strCache>
                      <c:ptCount val="1"/>
                      <c:pt idx="0">
                        <c:v>M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80000"/>
                      </a:schemeClr>
                    </a:solidFill>
                    <a:ln w="9525">
                      <a:solidFill>
                        <a:schemeClr val="accent2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7.9332452914033097E-3"/>
                        <c:y val="-2.9980526161081824E-3"/>
                      </c:manualLayout>
                    </c:layout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900" b="1" i="0" u="none" strike="noStrike" kern="1200" baseline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cs-CZ"/>
                      </a:p>
                    </c:txPr>
                    <c:dLblPos val="r"/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970000000000000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2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9-BDC7-4A4B-8526-DEF59504DBFC}"/>
                  </c:ext>
                </c:extLst>
              </c15:ser>
            </c15:filteredScatterSeries>
            <c15:filteredScatterSeries>
              <c15:ser>
                <c:idx val="20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3</c15:sqref>
                        </c15:formulaRef>
                      </c:ext>
                    </c:extLst>
                    <c:strCache>
                      <c:ptCount val="1"/>
                      <c:pt idx="0">
                        <c:v>NL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80000"/>
                      </a:schemeClr>
                    </a:solidFill>
                    <a:ln w="9525">
                      <a:solidFill>
                        <a:schemeClr val="accent3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691117662001338E-2"/>
                        <c:y val="3.7330981775426222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5400000000000003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3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269999999999999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B-BDC7-4A4B-8526-DEF59504DBFC}"/>
                  </c:ext>
                </c:extLst>
              </c15:ser>
            </c15:filteredScatterSeries>
            <c15:filteredScatterSeries>
              <c15:ser>
                <c:idx val="21"/>
                <c:order val="2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4</c15:sqref>
                        </c15:formulaRef>
                      </c:ext>
                    </c:extLst>
                    <c:strCache>
                      <c:ptCount val="1"/>
                      <c:pt idx="0">
                        <c:v>N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80000"/>
                      </a:schemeClr>
                    </a:solidFill>
                    <a:ln w="9525">
                      <a:solidFill>
                        <a:schemeClr val="accent4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4.1314019885864715E-2"/>
                        <c:y val="-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C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860000000000000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4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180000000000000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D-BDC7-4A4B-8526-DEF59504DBFC}"/>
                  </c:ext>
                </c:extLst>
              </c15:ser>
            </c15:filteredScatterSeries>
            <c15:filteredScatterSeries>
              <c15:ser>
                <c:idx val="22"/>
                <c:order val="2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5</c15:sqref>
                        </c15:formulaRef>
                      </c:ext>
                    </c:extLst>
                    <c:strCache>
                      <c:ptCount val="1"/>
                      <c:pt idx="0">
                        <c:v>PL</c:v>
                      </c:pt>
                    </c:strCache>
                  </c:strRef>
                </c:tx>
                <c:spPr>
                  <a:ln w="25400" cap="rnd">
                    <a:solidFill>
                      <a:srgbClr val="99663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rgbClr val="996633"/>
                    </a:solidFill>
                    <a:ln w="25400">
                      <a:solidFill>
                        <a:srgbClr val="996633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2835016835016835E-3"/>
                        <c:y val="-2.5659722222226263E-4"/>
                      </c:manualLayout>
                    </c:layout>
                    <c:showLegendKey val="0"/>
                    <c:showVal val="1"/>
                    <c:showCatName val="1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2E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72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5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620000000000000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F-BDC7-4A4B-8526-DEF59504DBFC}"/>
                  </c:ext>
                </c:extLst>
              </c15:ser>
            </c15:filteredScatterSeries>
            <c15:filteredScatterSeries>
              <c15:ser>
                <c:idx val="23"/>
                <c:order val="2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6</c15:sqref>
                        </c15:formulaRef>
                      </c:ext>
                    </c:extLst>
                    <c:strCache>
                      <c:ptCount val="1"/>
                      <c:pt idx="0">
                        <c:v>PT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>
                        <a:lumMod val="80000"/>
                      </a:schemeClr>
                    </a:solidFill>
                    <a:ln w="9525">
                      <a:solidFill>
                        <a:schemeClr val="accent6">
                          <a:lumMod val="8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9593084740072622E-2"/>
                        <c:y val="2.3331863609641389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0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736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6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9439999999999999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1-BDC7-4A4B-8526-DEF59504DBFC}"/>
                  </c:ext>
                </c:extLst>
              </c15:ser>
            </c15:filteredScatterSeries>
            <c15:filteredScatterSeries>
              <c15:ser>
                <c:idx val="24"/>
                <c:order val="2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7</c15:sqref>
                        </c15:formulaRef>
                      </c:ext>
                    </c:extLst>
                    <c:strCache>
                      <c:ptCount val="1"/>
                      <c:pt idx="0">
                        <c:v>RO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315465958222639E-2"/>
                        <c:y val="-1.633230452674897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2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10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7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3-BDC7-4A4B-8526-DEF59504DBFC}"/>
                  </c:ext>
                </c:extLst>
              </c15:ser>
            </c15:filteredScatterSeries>
            <c15:filteredScatterSeries>
              <c15:ser>
                <c:idx val="26"/>
                <c:order val="2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29</c15:sqref>
                        </c15:formulaRef>
                      </c:ext>
                    </c:extLst>
                    <c:strCache>
                      <c:ptCount val="1"/>
                      <c:pt idx="0">
                        <c:v>SI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3.4916619100433179E-2"/>
                        <c:y val="-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6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368999999999999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29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770000000000000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7-BDC7-4A4B-8526-DEF59504DBFC}"/>
                  </c:ext>
                </c:extLst>
              </c15:ser>
            </c15:filteredScatterSeries>
            <c15:filteredScatterSeries>
              <c15:ser>
                <c:idx val="27"/>
                <c:order val="2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0</c15:sqref>
                        </c15:formulaRef>
                      </c:ext>
                    </c:extLst>
                    <c:strCache>
                      <c:ptCount val="1"/>
                      <c:pt idx="0">
                        <c:v>ES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  <a:lumOff val="40000"/>
                      </a:schemeClr>
                    </a:solidFill>
                    <a:ln w="9525"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0053402661858606E-2"/>
                        <c:y val="9.3327454438565556E-3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8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2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0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619999999999999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9-BDC7-4A4B-8526-DEF59504DBFC}"/>
                  </c:ext>
                </c:extLst>
              </c15:ser>
            </c15:filteredScatterSeries>
            <c15:filteredScatterSeries>
              <c15:ser>
                <c:idx val="30"/>
                <c:order val="2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C$31</c15:sqref>
                        </c15:formulaRef>
                      </c:ext>
                    </c:extLst>
                    <c:strCache>
                      <c:ptCount val="1"/>
                      <c:pt idx="0">
                        <c:v>SE</c:v>
                      </c:pt>
                    </c:strCache>
                  </c:strRef>
                </c:tx>
                <c:spPr>
                  <a:ln w="25400" cap="rnd">
                    <a:noFill/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50000"/>
                      </a:schemeClr>
                    </a:solidFill>
                    <a:ln w="9525">
                      <a:solidFill>
                        <a:schemeClr val="accent1">
                          <a:lumMod val="50000"/>
                        </a:schemeClr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5.137166371490727E-2"/>
                        <c:y val="-2.5665049970605525E-2"/>
                      </c:manualLayout>
                    </c:layout>
                    <c:showLegendKey val="0"/>
                    <c:showVal val="0"/>
                    <c:showCatName val="0"/>
                    <c:showSerName val="1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3A-BDC7-4A4B-8526-DEF59504DBFC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cs-CZ"/>
                    </a:p>
                  </c:txPr>
                  <c:showLegendKey val="0"/>
                  <c:showVal val="0"/>
                  <c:showCatName val="0"/>
                  <c:showSerName val="1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B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63900000000000001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List1!$A$31</c15:sqref>
                        </c15:formulaRef>
                      </c:ext>
                    </c:extLst>
                    <c:numCache>
                      <c:formatCode>0.0%</c:formatCode>
                      <c:ptCount val="1"/>
                      <c:pt idx="0">
                        <c:v>0.87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B-BDC7-4A4B-8526-DEF59504DBFC}"/>
                  </c:ext>
                </c:extLst>
              </c15:ser>
            </c15:filteredScatterSeries>
          </c:ext>
        </c:extLst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očkováním posilující dávkou z 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200" b="1" dirty="0">
                    <a:solidFill>
                      <a:schemeClr val="tx1"/>
                    </a:solidFill>
                    <a:effectLst/>
                  </a:rPr>
                  <a:t>Podíl osob s vykázaným úplným očkováním z počtu obyvatel</a:t>
                </a:r>
                <a:endParaRPr lang="cs-CZ" sz="120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5.5267676767676768E-3"/>
              <c:y val="0.18109236111111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66975803339063E-2"/>
          <c:y val="2.443979858152697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525.68301772373195</c:v>
                </c:pt>
                <c:pt idx="1">
                  <c:v>407.04295369687998</c:v>
                </c:pt>
                <c:pt idx="2">
                  <c:v>237.80898420835501</c:v>
                </c:pt>
                <c:pt idx="3">
                  <c:v>211.542461860656</c:v>
                </c:pt>
                <c:pt idx="4">
                  <c:v>266.01464578977601</c:v>
                </c:pt>
                <c:pt idx="5">
                  <c:v>486.72394766439402</c:v>
                </c:pt>
                <c:pt idx="6">
                  <c:v>765.43114116581</c:v>
                </c:pt>
                <c:pt idx="7">
                  <c:v>952.29364914272401</c:v>
                </c:pt>
                <c:pt idx="8">
                  <c:v>758.73229654022305</c:v>
                </c:pt>
                <c:pt idx="9">
                  <c:v>536.78899697141696</c:v>
                </c:pt>
                <c:pt idx="10">
                  <c:v>369.31788133173001</c:v>
                </c:pt>
                <c:pt idx="11">
                  <c:v>281.17518888978901</c:v>
                </c:pt>
                <c:pt idx="12">
                  <c:v>225.821578036251</c:v>
                </c:pt>
                <c:pt idx="13">
                  <c:v>230.93385419788299</c:v>
                </c:pt>
                <c:pt idx="14">
                  <c:v>211.01360570600499</c:v>
                </c:pt>
                <c:pt idx="15">
                  <c:v>167.47111563968599</c:v>
                </c:pt>
                <c:pt idx="16">
                  <c:v>127.630618655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1595.0630311198499</c:v>
                </c:pt>
                <c:pt idx="1">
                  <c:v>1021.95055779696</c:v>
                </c:pt>
                <c:pt idx="2">
                  <c:v>384.57547293656302</c:v>
                </c:pt>
                <c:pt idx="3">
                  <c:v>404.704423243061</c:v>
                </c:pt>
                <c:pt idx="4">
                  <c:v>813.409631640209</c:v>
                </c:pt>
                <c:pt idx="5">
                  <c:v>1977.5130869433101</c:v>
                </c:pt>
                <c:pt idx="6">
                  <c:v>2977.4593263928</c:v>
                </c:pt>
                <c:pt idx="7">
                  <c:v>3107.98494204487</c:v>
                </c:pt>
                <c:pt idx="8">
                  <c:v>1847.98766757976</c:v>
                </c:pt>
                <c:pt idx="9">
                  <c:v>1106.7171932491699</c:v>
                </c:pt>
                <c:pt idx="10">
                  <c:v>524.22787972139497</c:v>
                </c:pt>
                <c:pt idx="11">
                  <c:v>379.07439334969399</c:v>
                </c:pt>
                <c:pt idx="12">
                  <c:v>319.562714182658</c:v>
                </c:pt>
                <c:pt idx="13">
                  <c:v>260.42610862381702</c:v>
                </c:pt>
                <c:pt idx="14">
                  <c:v>219.042987186235</c:v>
                </c:pt>
                <c:pt idx="15">
                  <c:v>155.65554740117699</c:v>
                </c:pt>
                <c:pt idx="16">
                  <c:v>107.89617462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1083.6379681313599</c:v>
                </c:pt>
                <c:pt idx="1">
                  <c:v>708.23142597552305</c:v>
                </c:pt>
                <c:pt idx="2">
                  <c:v>327.84318562993502</c:v>
                </c:pt>
                <c:pt idx="3">
                  <c:v>535.76977912099096</c:v>
                </c:pt>
                <c:pt idx="4">
                  <c:v>1268.4352485986001</c:v>
                </c:pt>
                <c:pt idx="5">
                  <c:v>3526.3306471700298</c:v>
                </c:pt>
                <c:pt idx="6">
                  <c:v>5523.9916212580902</c:v>
                </c:pt>
                <c:pt idx="7">
                  <c:v>5067.4545657263898</c:v>
                </c:pt>
                <c:pt idx="8">
                  <c:v>2706.7226830952</c:v>
                </c:pt>
                <c:pt idx="9">
                  <c:v>1473.5151574097999</c:v>
                </c:pt>
                <c:pt idx="10">
                  <c:v>630.18482100283904</c:v>
                </c:pt>
                <c:pt idx="11">
                  <c:v>473.14271616418699</c:v>
                </c:pt>
                <c:pt idx="12">
                  <c:v>421.54655634182001</c:v>
                </c:pt>
                <c:pt idx="13">
                  <c:v>350.735274930434</c:v>
                </c:pt>
                <c:pt idx="14">
                  <c:v>322.14981627022598</c:v>
                </c:pt>
                <c:pt idx="15">
                  <c:v>240.307631724402</c:v>
                </c:pt>
                <c:pt idx="16">
                  <c:v>150.281228723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1125.5135868348</c:v>
                </c:pt>
                <c:pt idx="1">
                  <c:v>744.46054662244103</c:v>
                </c:pt>
                <c:pt idx="2">
                  <c:v>325.26600642206898</c:v>
                </c:pt>
                <c:pt idx="3">
                  <c:v>405.12335811701303</c:v>
                </c:pt>
                <c:pt idx="4">
                  <c:v>846.487927966406</c:v>
                </c:pt>
                <c:pt idx="5">
                  <c:v>2185.6934536426902</c:v>
                </c:pt>
                <c:pt idx="6">
                  <c:v>3381.1105013096098</c:v>
                </c:pt>
                <c:pt idx="7">
                  <c:v>3302.1580487840101</c:v>
                </c:pt>
                <c:pt idx="8">
                  <c:v>1895.9899845759901</c:v>
                </c:pt>
                <c:pt idx="9">
                  <c:v>1100.35738992693</c:v>
                </c:pt>
                <c:pt idx="10">
                  <c:v>524.88676318019498</c:v>
                </c:pt>
                <c:pt idx="11">
                  <c:v>389.83056215503501</c:v>
                </c:pt>
                <c:pt idx="12">
                  <c:v>334.40548803248203</c:v>
                </c:pt>
                <c:pt idx="13">
                  <c:v>287.30548626792802</c:v>
                </c:pt>
                <c:pt idx="14">
                  <c:v>256.31268971776598</c:v>
                </c:pt>
                <c:pt idx="15">
                  <c:v>190.978969690854</c:v>
                </c:pt>
                <c:pt idx="16">
                  <c:v>129.1291114659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0.12 - 16.12</c:v>
                </c:pt>
                <c:pt idx="1">
                  <c:v>17.12 - 23.12</c:v>
                </c:pt>
                <c:pt idx="2">
                  <c:v>24.12 - 30.12</c:v>
                </c:pt>
                <c:pt idx="3">
                  <c:v>31.12 - 06.01</c:v>
                </c:pt>
                <c:pt idx="4">
                  <c:v>07.01 - 13.01</c:v>
                </c:pt>
                <c:pt idx="5">
                  <c:v>14.01 - 20.01</c:v>
                </c:pt>
                <c:pt idx="6">
                  <c:v>21.01 - 27.01</c:v>
                </c:pt>
                <c:pt idx="7">
                  <c:v>28.01 - 03.02</c:v>
                </c:pt>
                <c:pt idx="8">
                  <c:v>04.02 - 10.02</c:v>
                </c:pt>
                <c:pt idx="9">
                  <c:v>11.02 - 17.02</c:v>
                </c:pt>
                <c:pt idx="10">
                  <c:v>18.02 - 24.02</c:v>
                </c:pt>
                <c:pt idx="11">
                  <c:v>25.02 - 03.03</c:v>
                </c:pt>
                <c:pt idx="12">
                  <c:v>04.03 - 10.03</c:v>
                </c:pt>
                <c:pt idx="13">
                  <c:v>11.03 - 17.03</c:v>
                </c:pt>
                <c:pt idx="14">
                  <c:v>18.03 - 24.03</c:v>
                </c:pt>
                <c:pt idx="15">
                  <c:v>25.03 - 31.03</c:v>
                </c:pt>
                <c:pt idx="16">
                  <c:v>01.04 - 07.0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704.08867611425603</c:v>
                </c:pt>
                <c:pt idx="1">
                  <c:v>506.420569219485</c:v>
                </c:pt>
                <c:pt idx="2">
                  <c:v>308.45344656312602</c:v>
                </c:pt>
                <c:pt idx="3">
                  <c:v>388.63639188145999</c:v>
                </c:pt>
                <c:pt idx="4">
                  <c:v>526.10888827154497</c:v>
                </c:pt>
                <c:pt idx="5">
                  <c:v>1229.2070746755401</c:v>
                </c:pt>
                <c:pt idx="6">
                  <c:v>2031.81209999049</c:v>
                </c:pt>
                <c:pt idx="7">
                  <c:v>2404.56327953759</c:v>
                </c:pt>
                <c:pt idx="8">
                  <c:v>1690.8874105674199</c:v>
                </c:pt>
                <c:pt idx="9">
                  <c:v>1126.6820454210499</c:v>
                </c:pt>
                <c:pt idx="10">
                  <c:v>702.537531851018</c:v>
                </c:pt>
                <c:pt idx="11">
                  <c:v>531.47248349503002</c:v>
                </c:pt>
                <c:pt idx="12">
                  <c:v>501.75779218722198</c:v>
                </c:pt>
                <c:pt idx="13">
                  <c:v>502.48664310609303</c:v>
                </c:pt>
                <c:pt idx="14">
                  <c:v>488.52634473695298</c:v>
                </c:pt>
                <c:pt idx="15">
                  <c:v>419.59386744836797</c:v>
                </c:pt>
                <c:pt idx="16">
                  <c:v>315.32146483710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92622787503771553"/>
          <c:h val="0.8113349894352612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einfekc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63</c:f>
              <c:numCache>
                <c:formatCode>m/d/yyyy</c:formatCode>
                <c:ptCount val="462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6</c:v>
                </c:pt>
                <c:pt idx="150">
                  <c:v>44347</c:v>
                </c:pt>
                <c:pt idx="151">
                  <c:v>44348</c:v>
                </c:pt>
                <c:pt idx="152">
                  <c:v>44349</c:v>
                </c:pt>
                <c:pt idx="153">
                  <c:v>44350</c:v>
                </c:pt>
                <c:pt idx="154">
                  <c:v>44351</c:v>
                </c:pt>
                <c:pt idx="155">
                  <c:v>44352</c:v>
                </c:pt>
                <c:pt idx="156">
                  <c:v>44353</c:v>
                </c:pt>
                <c:pt idx="157">
                  <c:v>44354</c:v>
                </c:pt>
                <c:pt idx="158">
                  <c:v>44355</c:v>
                </c:pt>
                <c:pt idx="159">
                  <c:v>44356</c:v>
                </c:pt>
                <c:pt idx="160">
                  <c:v>44357</c:v>
                </c:pt>
                <c:pt idx="161">
                  <c:v>44358</c:v>
                </c:pt>
                <c:pt idx="162">
                  <c:v>44359</c:v>
                </c:pt>
                <c:pt idx="163">
                  <c:v>44360</c:v>
                </c:pt>
                <c:pt idx="164">
                  <c:v>44361</c:v>
                </c:pt>
                <c:pt idx="165">
                  <c:v>44362</c:v>
                </c:pt>
                <c:pt idx="166">
                  <c:v>44363</c:v>
                </c:pt>
                <c:pt idx="167">
                  <c:v>44364</c:v>
                </c:pt>
                <c:pt idx="168">
                  <c:v>44365</c:v>
                </c:pt>
                <c:pt idx="169">
                  <c:v>44366</c:v>
                </c:pt>
                <c:pt idx="170">
                  <c:v>44367</c:v>
                </c:pt>
                <c:pt idx="171">
                  <c:v>44368</c:v>
                </c:pt>
                <c:pt idx="172">
                  <c:v>44369</c:v>
                </c:pt>
                <c:pt idx="173">
                  <c:v>44370</c:v>
                </c:pt>
                <c:pt idx="174">
                  <c:v>44371</c:v>
                </c:pt>
                <c:pt idx="175">
                  <c:v>44372</c:v>
                </c:pt>
                <c:pt idx="176">
                  <c:v>44373</c:v>
                </c:pt>
                <c:pt idx="177">
                  <c:v>44374</c:v>
                </c:pt>
                <c:pt idx="178">
                  <c:v>44375</c:v>
                </c:pt>
                <c:pt idx="179">
                  <c:v>44376</c:v>
                </c:pt>
                <c:pt idx="180">
                  <c:v>44377</c:v>
                </c:pt>
                <c:pt idx="181">
                  <c:v>44378</c:v>
                </c:pt>
                <c:pt idx="182">
                  <c:v>44379</c:v>
                </c:pt>
                <c:pt idx="183">
                  <c:v>44380</c:v>
                </c:pt>
                <c:pt idx="184">
                  <c:v>44381</c:v>
                </c:pt>
                <c:pt idx="185">
                  <c:v>44382</c:v>
                </c:pt>
                <c:pt idx="186">
                  <c:v>44383</c:v>
                </c:pt>
                <c:pt idx="187">
                  <c:v>44384</c:v>
                </c:pt>
                <c:pt idx="188">
                  <c:v>44385</c:v>
                </c:pt>
                <c:pt idx="189">
                  <c:v>44386</c:v>
                </c:pt>
                <c:pt idx="190">
                  <c:v>44387</c:v>
                </c:pt>
                <c:pt idx="191">
                  <c:v>44388</c:v>
                </c:pt>
                <c:pt idx="192">
                  <c:v>44389</c:v>
                </c:pt>
                <c:pt idx="193">
                  <c:v>44390</c:v>
                </c:pt>
                <c:pt idx="194">
                  <c:v>44391</c:v>
                </c:pt>
                <c:pt idx="195">
                  <c:v>44392</c:v>
                </c:pt>
                <c:pt idx="196">
                  <c:v>44393</c:v>
                </c:pt>
                <c:pt idx="197">
                  <c:v>44394</c:v>
                </c:pt>
                <c:pt idx="198">
                  <c:v>44395</c:v>
                </c:pt>
                <c:pt idx="199">
                  <c:v>44396</c:v>
                </c:pt>
                <c:pt idx="200">
                  <c:v>44397</c:v>
                </c:pt>
                <c:pt idx="201">
                  <c:v>44398</c:v>
                </c:pt>
                <c:pt idx="202">
                  <c:v>44399</c:v>
                </c:pt>
                <c:pt idx="203">
                  <c:v>44400</c:v>
                </c:pt>
                <c:pt idx="204">
                  <c:v>44401</c:v>
                </c:pt>
                <c:pt idx="205">
                  <c:v>44402</c:v>
                </c:pt>
                <c:pt idx="206">
                  <c:v>44403</c:v>
                </c:pt>
                <c:pt idx="207">
                  <c:v>44404</c:v>
                </c:pt>
                <c:pt idx="208">
                  <c:v>44405</c:v>
                </c:pt>
                <c:pt idx="209">
                  <c:v>44406</c:v>
                </c:pt>
                <c:pt idx="210">
                  <c:v>44407</c:v>
                </c:pt>
                <c:pt idx="211">
                  <c:v>44408</c:v>
                </c:pt>
                <c:pt idx="212">
                  <c:v>44409</c:v>
                </c:pt>
                <c:pt idx="213">
                  <c:v>44410</c:v>
                </c:pt>
                <c:pt idx="214">
                  <c:v>44411</c:v>
                </c:pt>
                <c:pt idx="215">
                  <c:v>44412</c:v>
                </c:pt>
                <c:pt idx="216">
                  <c:v>44413</c:v>
                </c:pt>
                <c:pt idx="217">
                  <c:v>44414</c:v>
                </c:pt>
                <c:pt idx="218">
                  <c:v>44415</c:v>
                </c:pt>
                <c:pt idx="219">
                  <c:v>44416</c:v>
                </c:pt>
                <c:pt idx="220">
                  <c:v>44417</c:v>
                </c:pt>
                <c:pt idx="221">
                  <c:v>44418</c:v>
                </c:pt>
                <c:pt idx="222">
                  <c:v>44419</c:v>
                </c:pt>
                <c:pt idx="223">
                  <c:v>44420</c:v>
                </c:pt>
                <c:pt idx="224">
                  <c:v>44421</c:v>
                </c:pt>
                <c:pt idx="225">
                  <c:v>44422</c:v>
                </c:pt>
                <c:pt idx="226">
                  <c:v>44423</c:v>
                </c:pt>
                <c:pt idx="227">
                  <c:v>44424</c:v>
                </c:pt>
                <c:pt idx="228">
                  <c:v>44425</c:v>
                </c:pt>
                <c:pt idx="229">
                  <c:v>44426</c:v>
                </c:pt>
                <c:pt idx="230">
                  <c:v>44427</c:v>
                </c:pt>
                <c:pt idx="231">
                  <c:v>44428</c:v>
                </c:pt>
                <c:pt idx="232">
                  <c:v>44429</c:v>
                </c:pt>
                <c:pt idx="233">
                  <c:v>44430</c:v>
                </c:pt>
                <c:pt idx="234">
                  <c:v>44431</c:v>
                </c:pt>
                <c:pt idx="235">
                  <c:v>44432</c:v>
                </c:pt>
                <c:pt idx="236">
                  <c:v>44433</c:v>
                </c:pt>
                <c:pt idx="237">
                  <c:v>44434</c:v>
                </c:pt>
                <c:pt idx="238">
                  <c:v>44435</c:v>
                </c:pt>
                <c:pt idx="239">
                  <c:v>44436</c:v>
                </c:pt>
                <c:pt idx="240">
                  <c:v>44437</c:v>
                </c:pt>
                <c:pt idx="241">
                  <c:v>44438</c:v>
                </c:pt>
                <c:pt idx="242">
                  <c:v>44439</c:v>
                </c:pt>
                <c:pt idx="243">
                  <c:v>44440</c:v>
                </c:pt>
                <c:pt idx="244">
                  <c:v>44441</c:v>
                </c:pt>
                <c:pt idx="245">
                  <c:v>44442</c:v>
                </c:pt>
                <c:pt idx="246">
                  <c:v>44443</c:v>
                </c:pt>
                <c:pt idx="247">
                  <c:v>44444</c:v>
                </c:pt>
                <c:pt idx="248">
                  <c:v>44445</c:v>
                </c:pt>
                <c:pt idx="249">
                  <c:v>44446</c:v>
                </c:pt>
                <c:pt idx="250">
                  <c:v>44447</c:v>
                </c:pt>
                <c:pt idx="251">
                  <c:v>44448</c:v>
                </c:pt>
                <c:pt idx="252">
                  <c:v>44449</c:v>
                </c:pt>
                <c:pt idx="253">
                  <c:v>44450</c:v>
                </c:pt>
                <c:pt idx="254">
                  <c:v>44451</c:v>
                </c:pt>
                <c:pt idx="255">
                  <c:v>44452</c:v>
                </c:pt>
                <c:pt idx="256">
                  <c:v>44453</c:v>
                </c:pt>
                <c:pt idx="257">
                  <c:v>44454</c:v>
                </c:pt>
                <c:pt idx="258">
                  <c:v>44455</c:v>
                </c:pt>
                <c:pt idx="259">
                  <c:v>44456</c:v>
                </c:pt>
                <c:pt idx="260">
                  <c:v>44457</c:v>
                </c:pt>
                <c:pt idx="261">
                  <c:v>44458</c:v>
                </c:pt>
                <c:pt idx="262">
                  <c:v>44459</c:v>
                </c:pt>
                <c:pt idx="263">
                  <c:v>44460</c:v>
                </c:pt>
                <c:pt idx="264">
                  <c:v>44461</c:v>
                </c:pt>
                <c:pt idx="265">
                  <c:v>44462</c:v>
                </c:pt>
                <c:pt idx="266">
                  <c:v>44463</c:v>
                </c:pt>
                <c:pt idx="267">
                  <c:v>44464</c:v>
                </c:pt>
                <c:pt idx="268">
                  <c:v>44465</c:v>
                </c:pt>
                <c:pt idx="269">
                  <c:v>44466</c:v>
                </c:pt>
                <c:pt idx="270">
                  <c:v>44467</c:v>
                </c:pt>
                <c:pt idx="271">
                  <c:v>44468</c:v>
                </c:pt>
                <c:pt idx="272">
                  <c:v>44469</c:v>
                </c:pt>
                <c:pt idx="273">
                  <c:v>44470</c:v>
                </c:pt>
                <c:pt idx="274">
                  <c:v>44471</c:v>
                </c:pt>
                <c:pt idx="275">
                  <c:v>44472</c:v>
                </c:pt>
                <c:pt idx="276">
                  <c:v>44473</c:v>
                </c:pt>
                <c:pt idx="277">
                  <c:v>44474</c:v>
                </c:pt>
                <c:pt idx="278">
                  <c:v>44475</c:v>
                </c:pt>
                <c:pt idx="279">
                  <c:v>44476</c:v>
                </c:pt>
                <c:pt idx="280">
                  <c:v>44477</c:v>
                </c:pt>
                <c:pt idx="281">
                  <c:v>44478</c:v>
                </c:pt>
                <c:pt idx="282">
                  <c:v>44479</c:v>
                </c:pt>
                <c:pt idx="283">
                  <c:v>44480</c:v>
                </c:pt>
                <c:pt idx="284">
                  <c:v>44481</c:v>
                </c:pt>
                <c:pt idx="285">
                  <c:v>44482</c:v>
                </c:pt>
                <c:pt idx="286">
                  <c:v>44483</c:v>
                </c:pt>
                <c:pt idx="287">
                  <c:v>44484</c:v>
                </c:pt>
                <c:pt idx="288">
                  <c:v>44485</c:v>
                </c:pt>
                <c:pt idx="289">
                  <c:v>44486</c:v>
                </c:pt>
                <c:pt idx="290">
                  <c:v>44487</c:v>
                </c:pt>
                <c:pt idx="291">
                  <c:v>44488</c:v>
                </c:pt>
                <c:pt idx="292">
                  <c:v>44489</c:v>
                </c:pt>
                <c:pt idx="293">
                  <c:v>44490</c:v>
                </c:pt>
                <c:pt idx="294">
                  <c:v>44491</c:v>
                </c:pt>
                <c:pt idx="295">
                  <c:v>44492</c:v>
                </c:pt>
                <c:pt idx="296">
                  <c:v>44493</c:v>
                </c:pt>
                <c:pt idx="297">
                  <c:v>44494</c:v>
                </c:pt>
                <c:pt idx="298">
                  <c:v>44495</c:v>
                </c:pt>
                <c:pt idx="299">
                  <c:v>44496</c:v>
                </c:pt>
                <c:pt idx="300">
                  <c:v>44497</c:v>
                </c:pt>
                <c:pt idx="301">
                  <c:v>44498</c:v>
                </c:pt>
                <c:pt idx="302">
                  <c:v>44499</c:v>
                </c:pt>
                <c:pt idx="303">
                  <c:v>44500</c:v>
                </c:pt>
                <c:pt idx="304">
                  <c:v>44501</c:v>
                </c:pt>
                <c:pt idx="305">
                  <c:v>44502</c:v>
                </c:pt>
                <c:pt idx="306">
                  <c:v>44503</c:v>
                </c:pt>
                <c:pt idx="307">
                  <c:v>44504</c:v>
                </c:pt>
                <c:pt idx="308">
                  <c:v>44505</c:v>
                </c:pt>
                <c:pt idx="309">
                  <c:v>44506</c:v>
                </c:pt>
                <c:pt idx="310">
                  <c:v>44507</c:v>
                </c:pt>
                <c:pt idx="311">
                  <c:v>44508</c:v>
                </c:pt>
                <c:pt idx="312">
                  <c:v>44509</c:v>
                </c:pt>
                <c:pt idx="313">
                  <c:v>44510</c:v>
                </c:pt>
                <c:pt idx="314">
                  <c:v>44511</c:v>
                </c:pt>
                <c:pt idx="315">
                  <c:v>44512</c:v>
                </c:pt>
                <c:pt idx="316">
                  <c:v>44513</c:v>
                </c:pt>
                <c:pt idx="317">
                  <c:v>44514</c:v>
                </c:pt>
                <c:pt idx="318">
                  <c:v>44515</c:v>
                </c:pt>
                <c:pt idx="319">
                  <c:v>44516</c:v>
                </c:pt>
                <c:pt idx="320">
                  <c:v>44517</c:v>
                </c:pt>
                <c:pt idx="321">
                  <c:v>44518</c:v>
                </c:pt>
                <c:pt idx="322">
                  <c:v>44519</c:v>
                </c:pt>
                <c:pt idx="323">
                  <c:v>44520</c:v>
                </c:pt>
                <c:pt idx="324">
                  <c:v>44521</c:v>
                </c:pt>
                <c:pt idx="325">
                  <c:v>44522</c:v>
                </c:pt>
                <c:pt idx="326">
                  <c:v>44523</c:v>
                </c:pt>
                <c:pt idx="327">
                  <c:v>44524</c:v>
                </c:pt>
                <c:pt idx="328">
                  <c:v>44525</c:v>
                </c:pt>
                <c:pt idx="329">
                  <c:v>44526</c:v>
                </c:pt>
                <c:pt idx="330">
                  <c:v>44527</c:v>
                </c:pt>
                <c:pt idx="331">
                  <c:v>44528</c:v>
                </c:pt>
                <c:pt idx="332">
                  <c:v>44529</c:v>
                </c:pt>
                <c:pt idx="333">
                  <c:v>44530</c:v>
                </c:pt>
                <c:pt idx="334">
                  <c:v>44531</c:v>
                </c:pt>
                <c:pt idx="335">
                  <c:v>44532</c:v>
                </c:pt>
                <c:pt idx="336">
                  <c:v>44533</c:v>
                </c:pt>
                <c:pt idx="337">
                  <c:v>44534</c:v>
                </c:pt>
                <c:pt idx="338">
                  <c:v>44535</c:v>
                </c:pt>
                <c:pt idx="339">
                  <c:v>44536</c:v>
                </c:pt>
                <c:pt idx="340">
                  <c:v>44537</c:v>
                </c:pt>
                <c:pt idx="341">
                  <c:v>44538</c:v>
                </c:pt>
                <c:pt idx="342">
                  <c:v>44539</c:v>
                </c:pt>
                <c:pt idx="343">
                  <c:v>44540</c:v>
                </c:pt>
                <c:pt idx="344">
                  <c:v>44541</c:v>
                </c:pt>
                <c:pt idx="345">
                  <c:v>44542</c:v>
                </c:pt>
                <c:pt idx="346">
                  <c:v>44543</c:v>
                </c:pt>
                <c:pt idx="347">
                  <c:v>44544</c:v>
                </c:pt>
                <c:pt idx="348">
                  <c:v>44545</c:v>
                </c:pt>
                <c:pt idx="349">
                  <c:v>44546</c:v>
                </c:pt>
                <c:pt idx="350">
                  <c:v>44547</c:v>
                </c:pt>
                <c:pt idx="351">
                  <c:v>44548</c:v>
                </c:pt>
                <c:pt idx="352">
                  <c:v>44549</c:v>
                </c:pt>
                <c:pt idx="353">
                  <c:v>44550</c:v>
                </c:pt>
                <c:pt idx="354">
                  <c:v>44551</c:v>
                </c:pt>
                <c:pt idx="355">
                  <c:v>44552</c:v>
                </c:pt>
                <c:pt idx="356">
                  <c:v>44553</c:v>
                </c:pt>
                <c:pt idx="357">
                  <c:v>44554</c:v>
                </c:pt>
                <c:pt idx="358">
                  <c:v>44555</c:v>
                </c:pt>
                <c:pt idx="359">
                  <c:v>44556</c:v>
                </c:pt>
                <c:pt idx="360">
                  <c:v>44557</c:v>
                </c:pt>
                <c:pt idx="361">
                  <c:v>44558</c:v>
                </c:pt>
                <c:pt idx="362">
                  <c:v>44559</c:v>
                </c:pt>
                <c:pt idx="363">
                  <c:v>44560</c:v>
                </c:pt>
                <c:pt idx="364">
                  <c:v>44561</c:v>
                </c:pt>
                <c:pt idx="365">
                  <c:v>44562</c:v>
                </c:pt>
                <c:pt idx="366">
                  <c:v>44563</c:v>
                </c:pt>
                <c:pt idx="367">
                  <c:v>44564</c:v>
                </c:pt>
                <c:pt idx="368">
                  <c:v>44565</c:v>
                </c:pt>
                <c:pt idx="369">
                  <c:v>44566</c:v>
                </c:pt>
                <c:pt idx="370">
                  <c:v>44567</c:v>
                </c:pt>
                <c:pt idx="371">
                  <c:v>44568</c:v>
                </c:pt>
                <c:pt idx="372">
                  <c:v>44569</c:v>
                </c:pt>
                <c:pt idx="373">
                  <c:v>44570</c:v>
                </c:pt>
                <c:pt idx="374">
                  <c:v>44571</c:v>
                </c:pt>
                <c:pt idx="375">
                  <c:v>44572</c:v>
                </c:pt>
                <c:pt idx="376">
                  <c:v>44573</c:v>
                </c:pt>
                <c:pt idx="377">
                  <c:v>44574</c:v>
                </c:pt>
                <c:pt idx="378">
                  <c:v>44575</c:v>
                </c:pt>
                <c:pt idx="379">
                  <c:v>44576</c:v>
                </c:pt>
                <c:pt idx="380">
                  <c:v>44577</c:v>
                </c:pt>
                <c:pt idx="381">
                  <c:v>44578</c:v>
                </c:pt>
                <c:pt idx="382">
                  <c:v>44579</c:v>
                </c:pt>
                <c:pt idx="383">
                  <c:v>44580</c:v>
                </c:pt>
                <c:pt idx="384">
                  <c:v>44581</c:v>
                </c:pt>
                <c:pt idx="385">
                  <c:v>44582</c:v>
                </c:pt>
                <c:pt idx="386">
                  <c:v>44583</c:v>
                </c:pt>
                <c:pt idx="387">
                  <c:v>44584</c:v>
                </c:pt>
                <c:pt idx="388">
                  <c:v>44585</c:v>
                </c:pt>
                <c:pt idx="389">
                  <c:v>44586</c:v>
                </c:pt>
                <c:pt idx="390">
                  <c:v>44587</c:v>
                </c:pt>
                <c:pt idx="391">
                  <c:v>44588</c:v>
                </c:pt>
                <c:pt idx="392">
                  <c:v>44589</c:v>
                </c:pt>
                <c:pt idx="393">
                  <c:v>44590</c:v>
                </c:pt>
                <c:pt idx="394">
                  <c:v>44591</c:v>
                </c:pt>
                <c:pt idx="395">
                  <c:v>44592</c:v>
                </c:pt>
                <c:pt idx="396">
                  <c:v>44593</c:v>
                </c:pt>
                <c:pt idx="397">
                  <c:v>44594</c:v>
                </c:pt>
                <c:pt idx="398">
                  <c:v>44595</c:v>
                </c:pt>
                <c:pt idx="399">
                  <c:v>44596</c:v>
                </c:pt>
                <c:pt idx="400">
                  <c:v>44597</c:v>
                </c:pt>
                <c:pt idx="401">
                  <c:v>44598</c:v>
                </c:pt>
                <c:pt idx="402">
                  <c:v>44599</c:v>
                </c:pt>
                <c:pt idx="403">
                  <c:v>44600</c:v>
                </c:pt>
                <c:pt idx="404">
                  <c:v>44601</c:v>
                </c:pt>
                <c:pt idx="405">
                  <c:v>44602</c:v>
                </c:pt>
                <c:pt idx="406">
                  <c:v>44603</c:v>
                </c:pt>
                <c:pt idx="407">
                  <c:v>44604</c:v>
                </c:pt>
                <c:pt idx="408">
                  <c:v>44605</c:v>
                </c:pt>
                <c:pt idx="409">
                  <c:v>44606</c:v>
                </c:pt>
                <c:pt idx="410">
                  <c:v>44607</c:v>
                </c:pt>
                <c:pt idx="411">
                  <c:v>44608</c:v>
                </c:pt>
                <c:pt idx="412">
                  <c:v>44609</c:v>
                </c:pt>
                <c:pt idx="413">
                  <c:v>44610</c:v>
                </c:pt>
                <c:pt idx="414">
                  <c:v>44611</c:v>
                </c:pt>
                <c:pt idx="415">
                  <c:v>44612</c:v>
                </c:pt>
                <c:pt idx="416">
                  <c:v>44613</c:v>
                </c:pt>
                <c:pt idx="417">
                  <c:v>44614</c:v>
                </c:pt>
                <c:pt idx="418">
                  <c:v>44615</c:v>
                </c:pt>
                <c:pt idx="419">
                  <c:v>44616</c:v>
                </c:pt>
                <c:pt idx="420">
                  <c:v>44617</c:v>
                </c:pt>
                <c:pt idx="421">
                  <c:v>44618</c:v>
                </c:pt>
                <c:pt idx="422">
                  <c:v>44619</c:v>
                </c:pt>
                <c:pt idx="423">
                  <c:v>44620</c:v>
                </c:pt>
                <c:pt idx="424">
                  <c:v>44621</c:v>
                </c:pt>
                <c:pt idx="425">
                  <c:v>44622</c:v>
                </c:pt>
                <c:pt idx="426">
                  <c:v>44623</c:v>
                </c:pt>
                <c:pt idx="427">
                  <c:v>44624</c:v>
                </c:pt>
                <c:pt idx="428">
                  <c:v>44625</c:v>
                </c:pt>
                <c:pt idx="429">
                  <c:v>44626</c:v>
                </c:pt>
                <c:pt idx="430">
                  <c:v>44627</c:v>
                </c:pt>
                <c:pt idx="431">
                  <c:v>44628</c:v>
                </c:pt>
                <c:pt idx="432">
                  <c:v>44629</c:v>
                </c:pt>
                <c:pt idx="433">
                  <c:v>44630</c:v>
                </c:pt>
                <c:pt idx="434">
                  <c:v>44631</c:v>
                </c:pt>
                <c:pt idx="435">
                  <c:v>44632</c:v>
                </c:pt>
                <c:pt idx="436">
                  <c:v>44633</c:v>
                </c:pt>
                <c:pt idx="437">
                  <c:v>44634</c:v>
                </c:pt>
                <c:pt idx="438">
                  <c:v>44635</c:v>
                </c:pt>
                <c:pt idx="439">
                  <c:v>44636</c:v>
                </c:pt>
                <c:pt idx="440">
                  <c:v>44637</c:v>
                </c:pt>
                <c:pt idx="441">
                  <c:v>44638</c:v>
                </c:pt>
                <c:pt idx="442">
                  <c:v>44639</c:v>
                </c:pt>
                <c:pt idx="443">
                  <c:v>44640</c:v>
                </c:pt>
                <c:pt idx="444">
                  <c:v>44641</c:v>
                </c:pt>
                <c:pt idx="445">
                  <c:v>44642</c:v>
                </c:pt>
                <c:pt idx="446">
                  <c:v>44643</c:v>
                </c:pt>
                <c:pt idx="447">
                  <c:v>44644</c:v>
                </c:pt>
                <c:pt idx="448">
                  <c:v>44645</c:v>
                </c:pt>
                <c:pt idx="449">
                  <c:v>44646</c:v>
                </c:pt>
                <c:pt idx="450">
                  <c:v>44647</c:v>
                </c:pt>
                <c:pt idx="451">
                  <c:v>44648</c:v>
                </c:pt>
                <c:pt idx="452">
                  <c:v>44649</c:v>
                </c:pt>
                <c:pt idx="453">
                  <c:v>44650</c:v>
                </c:pt>
                <c:pt idx="454">
                  <c:v>44651</c:v>
                </c:pt>
                <c:pt idx="455">
                  <c:v>44652</c:v>
                </c:pt>
                <c:pt idx="456">
                  <c:v>44653</c:v>
                </c:pt>
                <c:pt idx="457">
                  <c:v>44654</c:v>
                </c:pt>
                <c:pt idx="458">
                  <c:v>44655</c:v>
                </c:pt>
                <c:pt idx="459">
                  <c:v>44656</c:v>
                </c:pt>
                <c:pt idx="460">
                  <c:v>44657</c:v>
                </c:pt>
                <c:pt idx="461">
                  <c:v>44658</c:v>
                </c:pt>
              </c:numCache>
            </c:numRef>
          </c:cat>
          <c:val>
            <c:numRef>
              <c:f>List1!$B$2:$B$463</c:f>
              <c:numCache>
                <c:formatCode>General</c:formatCode>
                <c:ptCount val="462"/>
                <c:pt idx="0">
                  <c:v>6</c:v>
                </c:pt>
                <c:pt idx="1">
                  <c:v>2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8</c:v>
                </c:pt>
                <c:pt idx="6">
                  <c:v>19</c:v>
                </c:pt>
                <c:pt idx="7">
                  <c:v>8</c:v>
                </c:pt>
                <c:pt idx="8">
                  <c:v>9</c:v>
                </c:pt>
                <c:pt idx="9">
                  <c:v>5</c:v>
                </c:pt>
                <c:pt idx="10">
                  <c:v>13</c:v>
                </c:pt>
                <c:pt idx="11">
                  <c:v>15</c:v>
                </c:pt>
                <c:pt idx="12">
                  <c:v>13</c:v>
                </c:pt>
                <c:pt idx="13">
                  <c:v>12</c:v>
                </c:pt>
                <c:pt idx="14">
                  <c:v>10</c:v>
                </c:pt>
                <c:pt idx="15">
                  <c:v>7</c:v>
                </c:pt>
                <c:pt idx="16">
                  <c:v>2</c:v>
                </c:pt>
                <c:pt idx="17">
                  <c:v>17</c:v>
                </c:pt>
                <c:pt idx="18">
                  <c:v>18</c:v>
                </c:pt>
                <c:pt idx="19">
                  <c:v>9</c:v>
                </c:pt>
                <c:pt idx="20">
                  <c:v>8</c:v>
                </c:pt>
                <c:pt idx="21">
                  <c:v>32</c:v>
                </c:pt>
                <c:pt idx="22">
                  <c:v>9</c:v>
                </c:pt>
                <c:pt idx="23">
                  <c:v>11</c:v>
                </c:pt>
                <c:pt idx="24">
                  <c:v>25</c:v>
                </c:pt>
                <c:pt idx="25">
                  <c:v>30</c:v>
                </c:pt>
                <c:pt idx="26">
                  <c:v>24</c:v>
                </c:pt>
                <c:pt idx="27">
                  <c:v>38</c:v>
                </c:pt>
                <c:pt idx="28">
                  <c:v>26</c:v>
                </c:pt>
                <c:pt idx="29">
                  <c:v>15</c:v>
                </c:pt>
                <c:pt idx="30">
                  <c:v>16</c:v>
                </c:pt>
                <c:pt idx="31">
                  <c:v>27</c:v>
                </c:pt>
                <c:pt idx="32">
                  <c:v>32</c:v>
                </c:pt>
                <c:pt idx="33">
                  <c:v>50</c:v>
                </c:pt>
                <c:pt idx="34">
                  <c:v>46</c:v>
                </c:pt>
                <c:pt idx="35">
                  <c:v>31</c:v>
                </c:pt>
                <c:pt idx="36">
                  <c:v>18</c:v>
                </c:pt>
                <c:pt idx="37">
                  <c:v>9</c:v>
                </c:pt>
                <c:pt idx="38">
                  <c:v>42</c:v>
                </c:pt>
                <c:pt idx="39">
                  <c:v>61</c:v>
                </c:pt>
                <c:pt idx="40">
                  <c:v>43</c:v>
                </c:pt>
                <c:pt idx="41">
                  <c:v>32</c:v>
                </c:pt>
                <c:pt idx="42">
                  <c:v>36</c:v>
                </c:pt>
                <c:pt idx="43">
                  <c:v>27</c:v>
                </c:pt>
                <c:pt idx="44">
                  <c:v>12</c:v>
                </c:pt>
                <c:pt idx="45">
                  <c:v>49</c:v>
                </c:pt>
                <c:pt idx="46">
                  <c:v>61</c:v>
                </c:pt>
                <c:pt idx="47">
                  <c:v>62</c:v>
                </c:pt>
                <c:pt idx="48">
                  <c:v>68</c:v>
                </c:pt>
                <c:pt idx="49">
                  <c:v>59</c:v>
                </c:pt>
                <c:pt idx="50">
                  <c:v>43</c:v>
                </c:pt>
                <c:pt idx="51">
                  <c:v>21</c:v>
                </c:pt>
                <c:pt idx="52">
                  <c:v>66</c:v>
                </c:pt>
                <c:pt idx="53">
                  <c:v>84</c:v>
                </c:pt>
                <c:pt idx="54">
                  <c:v>93</c:v>
                </c:pt>
                <c:pt idx="55">
                  <c:v>78</c:v>
                </c:pt>
                <c:pt idx="56">
                  <c:v>82</c:v>
                </c:pt>
                <c:pt idx="57">
                  <c:v>25</c:v>
                </c:pt>
                <c:pt idx="58">
                  <c:v>23</c:v>
                </c:pt>
                <c:pt idx="59">
                  <c:v>61</c:v>
                </c:pt>
                <c:pt idx="60">
                  <c:v>96</c:v>
                </c:pt>
                <c:pt idx="61">
                  <c:v>102</c:v>
                </c:pt>
                <c:pt idx="62">
                  <c:v>86</c:v>
                </c:pt>
                <c:pt idx="63">
                  <c:v>87</c:v>
                </c:pt>
                <c:pt idx="64">
                  <c:v>76</c:v>
                </c:pt>
                <c:pt idx="65">
                  <c:v>28</c:v>
                </c:pt>
                <c:pt idx="66">
                  <c:v>55</c:v>
                </c:pt>
                <c:pt idx="67">
                  <c:v>46</c:v>
                </c:pt>
                <c:pt idx="68">
                  <c:v>75</c:v>
                </c:pt>
                <c:pt idx="69">
                  <c:v>55</c:v>
                </c:pt>
                <c:pt idx="70">
                  <c:v>95</c:v>
                </c:pt>
                <c:pt idx="71">
                  <c:v>39</c:v>
                </c:pt>
                <c:pt idx="72">
                  <c:v>24</c:v>
                </c:pt>
                <c:pt idx="73">
                  <c:v>62</c:v>
                </c:pt>
                <c:pt idx="74">
                  <c:v>61</c:v>
                </c:pt>
                <c:pt idx="75">
                  <c:v>70</c:v>
                </c:pt>
                <c:pt idx="76">
                  <c:v>52</c:v>
                </c:pt>
                <c:pt idx="77">
                  <c:v>63</c:v>
                </c:pt>
                <c:pt idx="78">
                  <c:v>33</c:v>
                </c:pt>
                <c:pt idx="79">
                  <c:v>12</c:v>
                </c:pt>
                <c:pt idx="80">
                  <c:v>43</c:v>
                </c:pt>
                <c:pt idx="81">
                  <c:v>63</c:v>
                </c:pt>
                <c:pt idx="82">
                  <c:v>60</c:v>
                </c:pt>
                <c:pt idx="83">
                  <c:v>25</c:v>
                </c:pt>
                <c:pt idx="84">
                  <c:v>87</c:v>
                </c:pt>
                <c:pt idx="85">
                  <c:v>24</c:v>
                </c:pt>
                <c:pt idx="86">
                  <c:v>10</c:v>
                </c:pt>
                <c:pt idx="87">
                  <c:v>55</c:v>
                </c:pt>
                <c:pt idx="88">
                  <c:v>55</c:v>
                </c:pt>
                <c:pt idx="89">
                  <c:v>53</c:v>
                </c:pt>
                <c:pt idx="90">
                  <c:v>52</c:v>
                </c:pt>
                <c:pt idx="91">
                  <c:v>34</c:v>
                </c:pt>
                <c:pt idx="92">
                  <c:v>12</c:v>
                </c:pt>
                <c:pt idx="93">
                  <c:v>14</c:v>
                </c:pt>
                <c:pt idx="94">
                  <c:v>11</c:v>
                </c:pt>
                <c:pt idx="95">
                  <c:v>49</c:v>
                </c:pt>
                <c:pt idx="96">
                  <c:v>54</c:v>
                </c:pt>
                <c:pt idx="97">
                  <c:v>33</c:v>
                </c:pt>
                <c:pt idx="98">
                  <c:v>25</c:v>
                </c:pt>
                <c:pt idx="99">
                  <c:v>17</c:v>
                </c:pt>
                <c:pt idx="100">
                  <c:v>11</c:v>
                </c:pt>
                <c:pt idx="101">
                  <c:v>42</c:v>
                </c:pt>
                <c:pt idx="102">
                  <c:v>40</c:v>
                </c:pt>
                <c:pt idx="103">
                  <c:v>23</c:v>
                </c:pt>
                <c:pt idx="104">
                  <c:v>25</c:v>
                </c:pt>
                <c:pt idx="105">
                  <c:v>26</c:v>
                </c:pt>
                <c:pt idx="106">
                  <c:v>15</c:v>
                </c:pt>
                <c:pt idx="107">
                  <c:v>8</c:v>
                </c:pt>
                <c:pt idx="108">
                  <c:v>22</c:v>
                </c:pt>
                <c:pt idx="109">
                  <c:v>27</c:v>
                </c:pt>
                <c:pt idx="110">
                  <c:v>13</c:v>
                </c:pt>
                <c:pt idx="111">
                  <c:v>15</c:v>
                </c:pt>
                <c:pt idx="112">
                  <c:v>23</c:v>
                </c:pt>
                <c:pt idx="113">
                  <c:v>9</c:v>
                </c:pt>
                <c:pt idx="114">
                  <c:v>10</c:v>
                </c:pt>
                <c:pt idx="115">
                  <c:v>32</c:v>
                </c:pt>
                <c:pt idx="116">
                  <c:v>21</c:v>
                </c:pt>
                <c:pt idx="117">
                  <c:v>21</c:v>
                </c:pt>
                <c:pt idx="118">
                  <c:v>27</c:v>
                </c:pt>
                <c:pt idx="119">
                  <c:v>25</c:v>
                </c:pt>
                <c:pt idx="120">
                  <c:v>12</c:v>
                </c:pt>
                <c:pt idx="121">
                  <c:v>2</c:v>
                </c:pt>
                <c:pt idx="122">
                  <c:v>24</c:v>
                </c:pt>
                <c:pt idx="123">
                  <c:v>20</c:v>
                </c:pt>
                <c:pt idx="124">
                  <c:v>16</c:v>
                </c:pt>
                <c:pt idx="125">
                  <c:v>18</c:v>
                </c:pt>
                <c:pt idx="126">
                  <c:v>15</c:v>
                </c:pt>
                <c:pt idx="127">
                  <c:v>9</c:v>
                </c:pt>
                <c:pt idx="128">
                  <c:v>8</c:v>
                </c:pt>
                <c:pt idx="129">
                  <c:v>14</c:v>
                </c:pt>
                <c:pt idx="130">
                  <c:v>15</c:v>
                </c:pt>
                <c:pt idx="131">
                  <c:v>11</c:v>
                </c:pt>
                <c:pt idx="132">
                  <c:v>16</c:v>
                </c:pt>
                <c:pt idx="133">
                  <c:v>20</c:v>
                </c:pt>
                <c:pt idx="134">
                  <c:v>6</c:v>
                </c:pt>
                <c:pt idx="135">
                  <c:v>4</c:v>
                </c:pt>
                <c:pt idx="136">
                  <c:v>16</c:v>
                </c:pt>
                <c:pt idx="137">
                  <c:v>17</c:v>
                </c:pt>
                <c:pt idx="138">
                  <c:v>14</c:v>
                </c:pt>
                <c:pt idx="139">
                  <c:v>16</c:v>
                </c:pt>
                <c:pt idx="140">
                  <c:v>13</c:v>
                </c:pt>
                <c:pt idx="141">
                  <c:v>5</c:v>
                </c:pt>
                <c:pt idx="142">
                  <c:v>2</c:v>
                </c:pt>
                <c:pt idx="143">
                  <c:v>9</c:v>
                </c:pt>
                <c:pt idx="144">
                  <c:v>11</c:v>
                </c:pt>
                <c:pt idx="145">
                  <c:v>7</c:v>
                </c:pt>
                <c:pt idx="146">
                  <c:v>7</c:v>
                </c:pt>
                <c:pt idx="147">
                  <c:v>8</c:v>
                </c:pt>
                <c:pt idx="148">
                  <c:v>3</c:v>
                </c:pt>
                <c:pt idx="149">
                  <c:v>2</c:v>
                </c:pt>
                <c:pt idx="150">
                  <c:v>7</c:v>
                </c:pt>
                <c:pt idx="151">
                  <c:v>7</c:v>
                </c:pt>
                <c:pt idx="152">
                  <c:v>7</c:v>
                </c:pt>
                <c:pt idx="153">
                  <c:v>8</c:v>
                </c:pt>
                <c:pt idx="154">
                  <c:v>2</c:v>
                </c:pt>
                <c:pt idx="155">
                  <c:v>2</c:v>
                </c:pt>
                <c:pt idx="156">
                  <c:v>0</c:v>
                </c:pt>
                <c:pt idx="157">
                  <c:v>6</c:v>
                </c:pt>
                <c:pt idx="158">
                  <c:v>4</c:v>
                </c:pt>
                <c:pt idx="159">
                  <c:v>6</c:v>
                </c:pt>
                <c:pt idx="160">
                  <c:v>6</c:v>
                </c:pt>
                <c:pt idx="161">
                  <c:v>3</c:v>
                </c:pt>
                <c:pt idx="162">
                  <c:v>3</c:v>
                </c:pt>
                <c:pt idx="163">
                  <c:v>1</c:v>
                </c:pt>
                <c:pt idx="164">
                  <c:v>2</c:v>
                </c:pt>
                <c:pt idx="165">
                  <c:v>5</c:v>
                </c:pt>
                <c:pt idx="166">
                  <c:v>6</c:v>
                </c:pt>
                <c:pt idx="167">
                  <c:v>3</c:v>
                </c:pt>
                <c:pt idx="168">
                  <c:v>3</c:v>
                </c:pt>
                <c:pt idx="169">
                  <c:v>1</c:v>
                </c:pt>
                <c:pt idx="170">
                  <c:v>1</c:v>
                </c:pt>
                <c:pt idx="171">
                  <c:v>3</c:v>
                </c:pt>
                <c:pt idx="172">
                  <c:v>1</c:v>
                </c:pt>
                <c:pt idx="173">
                  <c:v>5</c:v>
                </c:pt>
                <c:pt idx="174">
                  <c:v>4</c:v>
                </c:pt>
                <c:pt idx="175">
                  <c:v>1</c:v>
                </c:pt>
                <c:pt idx="176">
                  <c:v>1</c:v>
                </c:pt>
                <c:pt idx="177">
                  <c:v>0</c:v>
                </c:pt>
                <c:pt idx="178">
                  <c:v>5</c:v>
                </c:pt>
                <c:pt idx="179">
                  <c:v>4</c:v>
                </c:pt>
                <c:pt idx="180">
                  <c:v>7</c:v>
                </c:pt>
                <c:pt idx="181">
                  <c:v>7</c:v>
                </c:pt>
                <c:pt idx="182">
                  <c:v>11</c:v>
                </c:pt>
                <c:pt idx="183">
                  <c:v>3</c:v>
                </c:pt>
                <c:pt idx="184">
                  <c:v>3</c:v>
                </c:pt>
                <c:pt idx="185">
                  <c:v>5</c:v>
                </c:pt>
                <c:pt idx="186">
                  <c:v>2</c:v>
                </c:pt>
                <c:pt idx="187">
                  <c:v>5</c:v>
                </c:pt>
                <c:pt idx="188">
                  <c:v>11</c:v>
                </c:pt>
                <c:pt idx="189">
                  <c:v>8</c:v>
                </c:pt>
                <c:pt idx="190">
                  <c:v>10</c:v>
                </c:pt>
                <c:pt idx="191">
                  <c:v>5</c:v>
                </c:pt>
                <c:pt idx="192">
                  <c:v>7</c:v>
                </c:pt>
                <c:pt idx="193">
                  <c:v>8</c:v>
                </c:pt>
                <c:pt idx="194">
                  <c:v>12</c:v>
                </c:pt>
                <c:pt idx="195">
                  <c:v>9</c:v>
                </c:pt>
                <c:pt idx="196">
                  <c:v>9</c:v>
                </c:pt>
                <c:pt idx="197">
                  <c:v>4</c:v>
                </c:pt>
                <c:pt idx="198">
                  <c:v>3</c:v>
                </c:pt>
                <c:pt idx="199">
                  <c:v>4</c:v>
                </c:pt>
                <c:pt idx="200">
                  <c:v>13</c:v>
                </c:pt>
                <c:pt idx="201">
                  <c:v>10</c:v>
                </c:pt>
                <c:pt idx="202">
                  <c:v>7</c:v>
                </c:pt>
                <c:pt idx="203">
                  <c:v>9</c:v>
                </c:pt>
                <c:pt idx="204">
                  <c:v>7</c:v>
                </c:pt>
                <c:pt idx="205">
                  <c:v>2</c:v>
                </c:pt>
                <c:pt idx="206">
                  <c:v>7</c:v>
                </c:pt>
                <c:pt idx="207">
                  <c:v>7</c:v>
                </c:pt>
                <c:pt idx="208">
                  <c:v>4</c:v>
                </c:pt>
                <c:pt idx="209">
                  <c:v>11</c:v>
                </c:pt>
                <c:pt idx="210">
                  <c:v>11</c:v>
                </c:pt>
                <c:pt idx="211">
                  <c:v>0</c:v>
                </c:pt>
                <c:pt idx="212">
                  <c:v>0</c:v>
                </c:pt>
                <c:pt idx="213">
                  <c:v>6</c:v>
                </c:pt>
                <c:pt idx="214">
                  <c:v>7</c:v>
                </c:pt>
                <c:pt idx="215">
                  <c:v>3</c:v>
                </c:pt>
                <c:pt idx="216">
                  <c:v>5</c:v>
                </c:pt>
                <c:pt idx="217">
                  <c:v>6</c:v>
                </c:pt>
                <c:pt idx="218">
                  <c:v>5</c:v>
                </c:pt>
                <c:pt idx="219">
                  <c:v>1</c:v>
                </c:pt>
                <c:pt idx="220">
                  <c:v>5</c:v>
                </c:pt>
                <c:pt idx="221">
                  <c:v>6</c:v>
                </c:pt>
                <c:pt idx="222">
                  <c:v>6</c:v>
                </c:pt>
                <c:pt idx="223">
                  <c:v>5</c:v>
                </c:pt>
                <c:pt idx="224">
                  <c:v>8</c:v>
                </c:pt>
                <c:pt idx="225">
                  <c:v>1</c:v>
                </c:pt>
                <c:pt idx="226">
                  <c:v>0</c:v>
                </c:pt>
                <c:pt idx="227">
                  <c:v>10</c:v>
                </c:pt>
                <c:pt idx="228">
                  <c:v>8</c:v>
                </c:pt>
                <c:pt idx="229">
                  <c:v>8</c:v>
                </c:pt>
                <c:pt idx="230">
                  <c:v>4</c:v>
                </c:pt>
                <c:pt idx="231">
                  <c:v>7</c:v>
                </c:pt>
                <c:pt idx="232">
                  <c:v>5</c:v>
                </c:pt>
                <c:pt idx="233">
                  <c:v>6</c:v>
                </c:pt>
                <c:pt idx="234">
                  <c:v>5</c:v>
                </c:pt>
                <c:pt idx="235">
                  <c:v>6</c:v>
                </c:pt>
                <c:pt idx="236">
                  <c:v>5</c:v>
                </c:pt>
                <c:pt idx="237">
                  <c:v>4</c:v>
                </c:pt>
                <c:pt idx="238">
                  <c:v>5</c:v>
                </c:pt>
                <c:pt idx="239">
                  <c:v>5</c:v>
                </c:pt>
                <c:pt idx="240">
                  <c:v>1</c:v>
                </c:pt>
                <c:pt idx="241">
                  <c:v>3</c:v>
                </c:pt>
                <c:pt idx="242">
                  <c:v>5</c:v>
                </c:pt>
                <c:pt idx="243">
                  <c:v>3</c:v>
                </c:pt>
                <c:pt idx="244">
                  <c:v>8</c:v>
                </c:pt>
                <c:pt idx="245">
                  <c:v>12</c:v>
                </c:pt>
                <c:pt idx="246">
                  <c:v>4</c:v>
                </c:pt>
                <c:pt idx="247">
                  <c:v>3</c:v>
                </c:pt>
                <c:pt idx="248">
                  <c:v>8</c:v>
                </c:pt>
                <c:pt idx="249">
                  <c:v>8</c:v>
                </c:pt>
                <c:pt idx="250">
                  <c:v>11</c:v>
                </c:pt>
                <c:pt idx="251">
                  <c:v>11</c:v>
                </c:pt>
                <c:pt idx="252">
                  <c:v>9</c:v>
                </c:pt>
                <c:pt idx="253">
                  <c:v>3</c:v>
                </c:pt>
                <c:pt idx="254">
                  <c:v>5</c:v>
                </c:pt>
                <c:pt idx="255">
                  <c:v>13</c:v>
                </c:pt>
                <c:pt idx="256">
                  <c:v>12</c:v>
                </c:pt>
                <c:pt idx="257">
                  <c:v>5</c:v>
                </c:pt>
                <c:pt idx="258">
                  <c:v>20</c:v>
                </c:pt>
                <c:pt idx="259">
                  <c:v>10</c:v>
                </c:pt>
                <c:pt idx="260">
                  <c:v>7</c:v>
                </c:pt>
                <c:pt idx="261">
                  <c:v>4</c:v>
                </c:pt>
                <c:pt idx="262">
                  <c:v>13</c:v>
                </c:pt>
                <c:pt idx="263">
                  <c:v>14</c:v>
                </c:pt>
                <c:pt idx="264">
                  <c:v>17</c:v>
                </c:pt>
                <c:pt idx="265">
                  <c:v>14</c:v>
                </c:pt>
                <c:pt idx="266">
                  <c:v>16</c:v>
                </c:pt>
                <c:pt idx="267">
                  <c:v>12</c:v>
                </c:pt>
                <c:pt idx="268">
                  <c:v>2</c:v>
                </c:pt>
                <c:pt idx="269">
                  <c:v>6</c:v>
                </c:pt>
                <c:pt idx="270">
                  <c:v>7</c:v>
                </c:pt>
                <c:pt idx="271">
                  <c:v>15</c:v>
                </c:pt>
                <c:pt idx="272">
                  <c:v>13</c:v>
                </c:pt>
                <c:pt idx="273">
                  <c:v>18</c:v>
                </c:pt>
                <c:pt idx="274">
                  <c:v>11</c:v>
                </c:pt>
                <c:pt idx="275">
                  <c:v>1</c:v>
                </c:pt>
                <c:pt idx="276">
                  <c:v>19</c:v>
                </c:pt>
                <c:pt idx="277">
                  <c:v>14</c:v>
                </c:pt>
                <c:pt idx="278">
                  <c:v>17</c:v>
                </c:pt>
                <c:pt idx="279">
                  <c:v>24</c:v>
                </c:pt>
                <c:pt idx="280">
                  <c:v>19</c:v>
                </c:pt>
                <c:pt idx="281">
                  <c:v>8</c:v>
                </c:pt>
                <c:pt idx="282">
                  <c:v>8</c:v>
                </c:pt>
                <c:pt idx="283">
                  <c:v>23</c:v>
                </c:pt>
                <c:pt idx="284">
                  <c:v>38</c:v>
                </c:pt>
                <c:pt idx="285">
                  <c:v>24</c:v>
                </c:pt>
                <c:pt idx="286">
                  <c:v>34</c:v>
                </c:pt>
                <c:pt idx="287">
                  <c:v>43</c:v>
                </c:pt>
                <c:pt idx="288">
                  <c:v>34</c:v>
                </c:pt>
                <c:pt idx="289">
                  <c:v>14</c:v>
                </c:pt>
                <c:pt idx="290">
                  <c:v>50</c:v>
                </c:pt>
                <c:pt idx="291">
                  <c:v>60</c:v>
                </c:pt>
                <c:pt idx="292">
                  <c:v>80</c:v>
                </c:pt>
                <c:pt idx="293">
                  <c:v>95</c:v>
                </c:pt>
                <c:pt idx="294">
                  <c:v>112</c:v>
                </c:pt>
                <c:pt idx="295">
                  <c:v>53</c:v>
                </c:pt>
                <c:pt idx="296">
                  <c:v>35</c:v>
                </c:pt>
                <c:pt idx="297">
                  <c:v>88</c:v>
                </c:pt>
                <c:pt idx="298">
                  <c:v>165</c:v>
                </c:pt>
                <c:pt idx="299">
                  <c:v>108</c:v>
                </c:pt>
                <c:pt idx="300">
                  <c:v>103</c:v>
                </c:pt>
                <c:pt idx="301">
                  <c:v>125</c:v>
                </c:pt>
                <c:pt idx="302">
                  <c:v>127</c:v>
                </c:pt>
                <c:pt idx="303">
                  <c:v>64</c:v>
                </c:pt>
                <c:pt idx="304">
                  <c:v>213</c:v>
                </c:pt>
                <c:pt idx="305">
                  <c:v>109</c:v>
                </c:pt>
                <c:pt idx="306">
                  <c:v>219</c:v>
                </c:pt>
                <c:pt idx="307">
                  <c:v>291</c:v>
                </c:pt>
                <c:pt idx="308">
                  <c:v>217</c:v>
                </c:pt>
                <c:pt idx="309">
                  <c:v>123</c:v>
                </c:pt>
                <c:pt idx="310">
                  <c:v>87</c:v>
                </c:pt>
                <c:pt idx="311">
                  <c:v>210</c:v>
                </c:pt>
                <c:pt idx="312">
                  <c:v>294</c:v>
                </c:pt>
                <c:pt idx="313">
                  <c:v>334</c:v>
                </c:pt>
                <c:pt idx="314">
                  <c:v>224</c:v>
                </c:pt>
                <c:pt idx="315">
                  <c:v>392</c:v>
                </c:pt>
                <c:pt idx="316">
                  <c:v>227</c:v>
                </c:pt>
                <c:pt idx="317">
                  <c:v>114</c:v>
                </c:pt>
                <c:pt idx="318">
                  <c:v>265</c:v>
                </c:pt>
                <c:pt idx="319">
                  <c:v>572</c:v>
                </c:pt>
                <c:pt idx="320">
                  <c:v>355</c:v>
                </c:pt>
                <c:pt idx="321">
                  <c:v>330</c:v>
                </c:pt>
                <c:pt idx="322">
                  <c:v>651</c:v>
                </c:pt>
                <c:pt idx="323">
                  <c:v>330</c:v>
                </c:pt>
                <c:pt idx="324">
                  <c:v>204</c:v>
                </c:pt>
                <c:pt idx="325">
                  <c:v>345</c:v>
                </c:pt>
                <c:pt idx="326">
                  <c:v>671</c:v>
                </c:pt>
                <c:pt idx="327">
                  <c:v>417</c:v>
                </c:pt>
                <c:pt idx="328">
                  <c:v>632</c:v>
                </c:pt>
                <c:pt idx="329">
                  <c:v>675</c:v>
                </c:pt>
                <c:pt idx="330">
                  <c:v>325</c:v>
                </c:pt>
                <c:pt idx="331">
                  <c:v>193</c:v>
                </c:pt>
                <c:pt idx="332">
                  <c:v>467</c:v>
                </c:pt>
                <c:pt idx="333">
                  <c:v>547</c:v>
                </c:pt>
                <c:pt idx="334">
                  <c:v>510</c:v>
                </c:pt>
                <c:pt idx="335">
                  <c:v>497</c:v>
                </c:pt>
                <c:pt idx="336">
                  <c:v>441</c:v>
                </c:pt>
                <c:pt idx="337">
                  <c:v>291</c:v>
                </c:pt>
                <c:pt idx="338">
                  <c:v>127</c:v>
                </c:pt>
                <c:pt idx="339">
                  <c:v>406</c:v>
                </c:pt>
                <c:pt idx="340">
                  <c:v>510</c:v>
                </c:pt>
                <c:pt idx="341">
                  <c:v>460</c:v>
                </c:pt>
                <c:pt idx="342">
                  <c:v>381</c:v>
                </c:pt>
                <c:pt idx="343">
                  <c:v>307</c:v>
                </c:pt>
                <c:pt idx="344">
                  <c:v>240</c:v>
                </c:pt>
                <c:pt idx="345">
                  <c:v>104</c:v>
                </c:pt>
                <c:pt idx="346">
                  <c:v>299</c:v>
                </c:pt>
                <c:pt idx="347">
                  <c:v>446</c:v>
                </c:pt>
                <c:pt idx="348">
                  <c:v>359</c:v>
                </c:pt>
                <c:pt idx="349">
                  <c:v>259</c:v>
                </c:pt>
                <c:pt idx="350">
                  <c:v>275</c:v>
                </c:pt>
                <c:pt idx="351">
                  <c:v>166</c:v>
                </c:pt>
                <c:pt idx="352">
                  <c:v>88</c:v>
                </c:pt>
                <c:pt idx="353">
                  <c:v>207</c:v>
                </c:pt>
                <c:pt idx="354">
                  <c:v>332</c:v>
                </c:pt>
                <c:pt idx="355">
                  <c:v>230</c:v>
                </c:pt>
                <c:pt idx="356">
                  <c:v>272</c:v>
                </c:pt>
                <c:pt idx="357">
                  <c:v>94</c:v>
                </c:pt>
                <c:pt idx="358">
                  <c:v>37</c:v>
                </c:pt>
                <c:pt idx="359">
                  <c:v>72</c:v>
                </c:pt>
                <c:pt idx="360">
                  <c:v>212</c:v>
                </c:pt>
                <c:pt idx="361">
                  <c:v>274</c:v>
                </c:pt>
                <c:pt idx="362">
                  <c:v>231</c:v>
                </c:pt>
                <c:pt idx="363">
                  <c:v>217</c:v>
                </c:pt>
                <c:pt idx="364">
                  <c:v>229</c:v>
                </c:pt>
                <c:pt idx="365">
                  <c:v>50</c:v>
                </c:pt>
                <c:pt idx="366">
                  <c:v>132</c:v>
                </c:pt>
                <c:pt idx="367">
                  <c:v>619</c:v>
                </c:pt>
                <c:pt idx="368">
                  <c:v>705</c:v>
                </c:pt>
                <c:pt idx="369">
                  <c:v>631</c:v>
                </c:pt>
                <c:pt idx="370">
                  <c:v>629</c:v>
                </c:pt>
                <c:pt idx="371">
                  <c:v>593</c:v>
                </c:pt>
                <c:pt idx="372">
                  <c:v>329</c:v>
                </c:pt>
                <c:pt idx="373">
                  <c:v>232</c:v>
                </c:pt>
                <c:pt idx="374">
                  <c:v>706</c:v>
                </c:pt>
                <c:pt idx="375">
                  <c:v>1312</c:v>
                </c:pt>
                <c:pt idx="376">
                  <c:v>1362</c:v>
                </c:pt>
                <c:pt idx="377">
                  <c:v>1442</c:v>
                </c:pt>
                <c:pt idx="378">
                  <c:v>1649</c:v>
                </c:pt>
                <c:pt idx="379">
                  <c:v>1169</c:v>
                </c:pt>
                <c:pt idx="380">
                  <c:v>867</c:v>
                </c:pt>
                <c:pt idx="381">
                  <c:v>1976</c:v>
                </c:pt>
                <c:pt idx="382">
                  <c:v>3619</c:v>
                </c:pt>
                <c:pt idx="383">
                  <c:v>4627</c:v>
                </c:pt>
                <c:pt idx="384">
                  <c:v>3600</c:v>
                </c:pt>
                <c:pt idx="385">
                  <c:v>3022</c:v>
                </c:pt>
                <c:pt idx="386">
                  <c:v>2199</c:v>
                </c:pt>
                <c:pt idx="387">
                  <c:v>3546</c:v>
                </c:pt>
                <c:pt idx="388">
                  <c:v>3125</c:v>
                </c:pt>
                <c:pt idx="389">
                  <c:v>2415</c:v>
                </c:pt>
                <c:pt idx="390">
                  <c:v>4844</c:v>
                </c:pt>
                <c:pt idx="391">
                  <c:v>16203</c:v>
                </c:pt>
                <c:pt idx="392">
                  <c:v>7955</c:v>
                </c:pt>
                <c:pt idx="393">
                  <c:v>3147</c:v>
                </c:pt>
                <c:pt idx="394">
                  <c:v>3815</c:v>
                </c:pt>
                <c:pt idx="395">
                  <c:v>5019</c:v>
                </c:pt>
                <c:pt idx="396">
                  <c:v>9721</c:v>
                </c:pt>
                <c:pt idx="397">
                  <c:v>7362</c:v>
                </c:pt>
                <c:pt idx="398">
                  <c:v>6541</c:v>
                </c:pt>
                <c:pt idx="399">
                  <c:v>5146</c:v>
                </c:pt>
                <c:pt idx="400">
                  <c:v>3983</c:v>
                </c:pt>
                <c:pt idx="401">
                  <c:v>1480</c:v>
                </c:pt>
                <c:pt idx="402">
                  <c:v>5361</c:v>
                </c:pt>
                <c:pt idx="403">
                  <c:v>6593</c:v>
                </c:pt>
                <c:pt idx="404">
                  <c:v>4967</c:v>
                </c:pt>
                <c:pt idx="405">
                  <c:v>3847</c:v>
                </c:pt>
                <c:pt idx="406">
                  <c:v>4053</c:v>
                </c:pt>
                <c:pt idx="407">
                  <c:v>1802</c:v>
                </c:pt>
                <c:pt idx="408">
                  <c:v>1103</c:v>
                </c:pt>
                <c:pt idx="409">
                  <c:v>3690</c:v>
                </c:pt>
                <c:pt idx="410">
                  <c:v>5010</c:v>
                </c:pt>
                <c:pt idx="411">
                  <c:v>2884</c:v>
                </c:pt>
                <c:pt idx="412">
                  <c:v>2884</c:v>
                </c:pt>
                <c:pt idx="413">
                  <c:v>2566</c:v>
                </c:pt>
                <c:pt idx="414">
                  <c:v>1318</c:v>
                </c:pt>
                <c:pt idx="415">
                  <c:v>674</c:v>
                </c:pt>
                <c:pt idx="416">
                  <c:v>2514</c:v>
                </c:pt>
                <c:pt idx="417">
                  <c:v>2569</c:v>
                </c:pt>
                <c:pt idx="418">
                  <c:v>2013</c:v>
                </c:pt>
                <c:pt idx="419">
                  <c:v>1841</c:v>
                </c:pt>
                <c:pt idx="420">
                  <c:v>1720</c:v>
                </c:pt>
                <c:pt idx="421">
                  <c:v>958</c:v>
                </c:pt>
                <c:pt idx="422">
                  <c:v>480</c:v>
                </c:pt>
                <c:pt idx="423">
                  <c:v>1866</c:v>
                </c:pt>
                <c:pt idx="424">
                  <c:v>2215</c:v>
                </c:pt>
                <c:pt idx="425">
                  <c:v>1670</c:v>
                </c:pt>
                <c:pt idx="426">
                  <c:v>1558</c:v>
                </c:pt>
                <c:pt idx="427">
                  <c:v>1594</c:v>
                </c:pt>
                <c:pt idx="428">
                  <c:v>825</c:v>
                </c:pt>
                <c:pt idx="429">
                  <c:v>461</c:v>
                </c:pt>
                <c:pt idx="430">
                  <c:v>1988</c:v>
                </c:pt>
                <c:pt idx="431">
                  <c:v>1975</c:v>
                </c:pt>
                <c:pt idx="432">
                  <c:v>1678</c:v>
                </c:pt>
                <c:pt idx="433">
                  <c:v>1546</c:v>
                </c:pt>
                <c:pt idx="434">
                  <c:v>1652</c:v>
                </c:pt>
                <c:pt idx="435">
                  <c:v>755</c:v>
                </c:pt>
                <c:pt idx="436">
                  <c:v>431</c:v>
                </c:pt>
                <c:pt idx="437">
                  <c:v>2068</c:v>
                </c:pt>
                <c:pt idx="438">
                  <c:v>1939</c:v>
                </c:pt>
                <c:pt idx="439">
                  <c:v>1641</c:v>
                </c:pt>
                <c:pt idx="440">
                  <c:v>1486</c:v>
                </c:pt>
                <c:pt idx="441">
                  <c:v>1649</c:v>
                </c:pt>
                <c:pt idx="442">
                  <c:v>780</c:v>
                </c:pt>
                <c:pt idx="443">
                  <c:v>370</c:v>
                </c:pt>
                <c:pt idx="444">
                  <c:v>2059</c:v>
                </c:pt>
                <c:pt idx="445">
                  <c:v>1971</c:v>
                </c:pt>
                <c:pt idx="446">
                  <c:v>1546</c:v>
                </c:pt>
                <c:pt idx="447">
                  <c:v>1340</c:v>
                </c:pt>
                <c:pt idx="448">
                  <c:v>1397</c:v>
                </c:pt>
                <c:pt idx="449">
                  <c:v>647</c:v>
                </c:pt>
                <c:pt idx="450">
                  <c:v>346</c:v>
                </c:pt>
                <c:pt idx="451">
                  <c:v>1668</c:v>
                </c:pt>
                <c:pt idx="452">
                  <c:v>1652</c:v>
                </c:pt>
                <c:pt idx="453">
                  <c:v>1331</c:v>
                </c:pt>
                <c:pt idx="454">
                  <c:v>1278</c:v>
                </c:pt>
                <c:pt idx="455">
                  <c:v>1118</c:v>
                </c:pt>
                <c:pt idx="456">
                  <c:v>467</c:v>
                </c:pt>
                <c:pt idx="457">
                  <c:v>313</c:v>
                </c:pt>
                <c:pt idx="458">
                  <c:v>1275</c:v>
                </c:pt>
                <c:pt idx="459">
                  <c:v>1253</c:v>
                </c:pt>
                <c:pt idx="460">
                  <c:v>1080</c:v>
                </c:pt>
                <c:pt idx="461">
                  <c:v>9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dateAx>
        <c:axId val="1335740047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Offset val="100"/>
        <c:baseTimeUnit val="days"/>
      </c:date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9206468945271149"/>
          <c:h val="0.8113349894352612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einfekce2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63</c:f>
              <c:numCache>
                <c:formatCode>m/d/yyyy</c:formatCode>
                <c:ptCount val="462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  <c:pt idx="110">
                  <c:v>44307</c:v>
                </c:pt>
                <c:pt idx="111">
                  <c:v>44308</c:v>
                </c:pt>
                <c:pt idx="112">
                  <c:v>44309</c:v>
                </c:pt>
                <c:pt idx="113">
                  <c:v>44310</c:v>
                </c:pt>
                <c:pt idx="114">
                  <c:v>44311</c:v>
                </c:pt>
                <c:pt idx="115">
                  <c:v>44312</c:v>
                </c:pt>
                <c:pt idx="116">
                  <c:v>44313</c:v>
                </c:pt>
                <c:pt idx="117">
                  <c:v>44314</c:v>
                </c:pt>
                <c:pt idx="118">
                  <c:v>44315</c:v>
                </c:pt>
                <c:pt idx="119">
                  <c:v>44316</c:v>
                </c:pt>
                <c:pt idx="120">
                  <c:v>44317</c:v>
                </c:pt>
                <c:pt idx="121">
                  <c:v>44318</c:v>
                </c:pt>
                <c:pt idx="122">
                  <c:v>44319</c:v>
                </c:pt>
                <c:pt idx="123">
                  <c:v>44320</c:v>
                </c:pt>
                <c:pt idx="124">
                  <c:v>44321</c:v>
                </c:pt>
                <c:pt idx="125">
                  <c:v>44322</c:v>
                </c:pt>
                <c:pt idx="126">
                  <c:v>44323</c:v>
                </c:pt>
                <c:pt idx="127">
                  <c:v>44324</c:v>
                </c:pt>
                <c:pt idx="128">
                  <c:v>44325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1</c:v>
                </c:pt>
                <c:pt idx="135">
                  <c:v>44332</c:v>
                </c:pt>
                <c:pt idx="136">
                  <c:v>44333</c:v>
                </c:pt>
                <c:pt idx="137">
                  <c:v>44334</c:v>
                </c:pt>
                <c:pt idx="138">
                  <c:v>44335</c:v>
                </c:pt>
                <c:pt idx="139">
                  <c:v>44336</c:v>
                </c:pt>
                <c:pt idx="140">
                  <c:v>44337</c:v>
                </c:pt>
                <c:pt idx="141">
                  <c:v>44338</c:v>
                </c:pt>
                <c:pt idx="142">
                  <c:v>44339</c:v>
                </c:pt>
                <c:pt idx="143">
                  <c:v>44340</c:v>
                </c:pt>
                <c:pt idx="144">
                  <c:v>44341</c:v>
                </c:pt>
                <c:pt idx="145">
                  <c:v>44342</c:v>
                </c:pt>
                <c:pt idx="146">
                  <c:v>44343</c:v>
                </c:pt>
                <c:pt idx="147">
                  <c:v>44344</c:v>
                </c:pt>
                <c:pt idx="148">
                  <c:v>44345</c:v>
                </c:pt>
                <c:pt idx="149">
                  <c:v>44346</c:v>
                </c:pt>
                <c:pt idx="150">
                  <c:v>44347</c:v>
                </c:pt>
                <c:pt idx="151">
                  <c:v>44348</c:v>
                </c:pt>
                <c:pt idx="152">
                  <c:v>44349</c:v>
                </c:pt>
                <c:pt idx="153">
                  <c:v>44350</c:v>
                </c:pt>
                <c:pt idx="154">
                  <c:v>44351</c:v>
                </c:pt>
                <c:pt idx="155">
                  <c:v>44352</c:v>
                </c:pt>
                <c:pt idx="156">
                  <c:v>44353</c:v>
                </c:pt>
                <c:pt idx="157">
                  <c:v>44354</c:v>
                </c:pt>
                <c:pt idx="158">
                  <c:v>44355</c:v>
                </c:pt>
                <c:pt idx="159">
                  <c:v>44356</c:v>
                </c:pt>
                <c:pt idx="160">
                  <c:v>44357</c:v>
                </c:pt>
                <c:pt idx="161">
                  <c:v>44358</c:v>
                </c:pt>
                <c:pt idx="162">
                  <c:v>44359</c:v>
                </c:pt>
                <c:pt idx="163">
                  <c:v>44360</c:v>
                </c:pt>
                <c:pt idx="164">
                  <c:v>44361</c:v>
                </c:pt>
                <c:pt idx="165">
                  <c:v>44362</c:v>
                </c:pt>
                <c:pt idx="166">
                  <c:v>44363</c:v>
                </c:pt>
                <c:pt idx="167">
                  <c:v>44364</c:v>
                </c:pt>
                <c:pt idx="168">
                  <c:v>44365</c:v>
                </c:pt>
                <c:pt idx="169">
                  <c:v>44366</c:v>
                </c:pt>
                <c:pt idx="170">
                  <c:v>44367</c:v>
                </c:pt>
                <c:pt idx="171">
                  <c:v>44368</c:v>
                </c:pt>
                <c:pt idx="172">
                  <c:v>44369</c:v>
                </c:pt>
                <c:pt idx="173">
                  <c:v>44370</c:v>
                </c:pt>
                <c:pt idx="174">
                  <c:v>44371</c:v>
                </c:pt>
                <c:pt idx="175">
                  <c:v>44372</c:v>
                </c:pt>
                <c:pt idx="176">
                  <c:v>44373</c:v>
                </c:pt>
                <c:pt idx="177">
                  <c:v>44374</c:v>
                </c:pt>
                <c:pt idx="178">
                  <c:v>44375</c:v>
                </c:pt>
                <c:pt idx="179">
                  <c:v>44376</c:v>
                </c:pt>
                <c:pt idx="180">
                  <c:v>44377</c:v>
                </c:pt>
                <c:pt idx="181">
                  <c:v>44378</c:v>
                </c:pt>
                <c:pt idx="182">
                  <c:v>44379</c:v>
                </c:pt>
                <c:pt idx="183">
                  <c:v>44380</c:v>
                </c:pt>
                <c:pt idx="184">
                  <c:v>44381</c:v>
                </c:pt>
                <c:pt idx="185">
                  <c:v>44382</c:v>
                </c:pt>
                <c:pt idx="186">
                  <c:v>44383</c:v>
                </c:pt>
                <c:pt idx="187">
                  <c:v>44384</c:v>
                </c:pt>
                <c:pt idx="188">
                  <c:v>44385</c:v>
                </c:pt>
                <c:pt idx="189">
                  <c:v>44386</c:v>
                </c:pt>
                <c:pt idx="190">
                  <c:v>44387</c:v>
                </c:pt>
                <c:pt idx="191">
                  <c:v>44388</c:v>
                </c:pt>
                <c:pt idx="192">
                  <c:v>44389</c:v>
                </c:pt>
                <c:pt idx="193">
                  <c:v>44390</c:v>
                </c:pt>
                <c:pt idx="194">
                  <c:v>44391</c:v>
                </c:pt>
                <c:pt idx="195">
                  <c:v>44392</c:v>
                </c:pt>
                <c:pt idx="196">
                  <c:v>44393</c:v>
                </c:pt>
                <c:pt idx="197">
                  <c:v>44394</c:v>
                </c:pt>
                <c:pt idx="198">
                  <c:v>44395</c:v>
                </c:pt>
                <c:pt idx="199">
                  <c:v>44396</c:v>
                </c:pt>
                <c:pt idx="200">
                  <c:v>44397</c:v>
                </c:pt>
                <c:pt idx="201">
                  <c:v>44398</c:v>
                </c:pt>
                <c:pt idx="202">
                  <c:v>44399</c:v>
                </c:pt>
                <c:pt idx="203">
                  <c:v>44400</c:v>
                </c:pt>
                <c:pt idx="204">
                  <c:v>44401</c:v>
                </c:pt>
                <c:pt idx="205">
                  <c:v>44402</c:v>
                </c:pt>
                <c:pt idx="206">
                  <c:v>44403</c:v>
                </c:pt>
                <c:pt idx="207">
                  <c:v>44404</c:v>
                </c:pt>
                <c:pt idx="208">
                  <c:v>44405</c:v>
                </c:pt>
                <c:pt idx="209">
                  <c:v>44406</c:v>
                </c:pt>
                <c:pt idx="210">
                  <c:v>44407</c:v>
                </c:pt>
                <c:pt idx="211">
                  <c:v>44408</c:v>
                </c:pt>
                <c:pt idx="212">
                  <c:v>44409</c:v>
                </c:pt>
                <c:pt idx="213">
                  <c:v>44410</c:v>
                </c:pt>
                <c:pt idx="214">
                  <c:v>44411</c:v>
                </c:pt>
                <c:pt idx="215">
                  <c:v>44412</c:v>
                </c:pt>
                <c:pt idx="216">
                  <c:v>44413</c:v>
                </c:pt>
                <c:pt idx="217">
                  <c:v>44414</c:v>
                </c:pt>
                <c:pt idx="218">
                  <c:v>44415</c:v>
                </c:pt>
                <c:pt idx="219">
                  <c:v>44416</c:v>
                </c:pt>
                <c:pt idx="220">
                  <c:v>44417</c:v>
                </c:pt>
                <c:pt idx="221">
                  <c:v>44418</c:v>
                </c:pt>
                <c:pt idx="222">
                  <c:v>44419</c:v>
                </c:pt>
                <c:pt idx="223">
                  <c:v>44420</c:v>
                </c:pt>
                <c:pt idx="224">
                  <c:v>44421</c:v>
                </c:pt>
                <c:pt idx="225">
                  <c:v>44422</c:v>
                </c:pt>
                <c:pt idx="226">
                  <c:v>44423</c:v>
                </c:pt>
                <c:pt idx="227">
                  <c:v>44424</c:v>
                </c:pt>
                <c:pt idx="228">
                  <c:v>44425</c:v>
                </c:pt>
                <c:pt idx="229">
                  <c:v>44426</c:v>
                </c:pt>
                <c:pt idx="230">
                  <c:v>44427</c:v>
                </c:pt>
                <c:pt idx="231">
                  <c:v>44428</c:v>
                </c:pt>
                <c:pt idx="232">
                  <c:v>44429</c:v>
                </c:pt>
                <c:pt idx="233">
                  <c:v>44430</c:v>
                </c:pt>
                <c:pt idx="234">
                  <c:v>44431</c:v>
                </c:pt>
                <c:pt idx="235">
                  <c:v>44432</c:v>
                </c:pt>
                <c:pt idx="236">
                  <c:v>44433</c:v>
                </c:pt>
                <c:pt idx="237">
                  <c:v>44434</c:v>
                </c:pt>
                <c:pt idx="238">
                  <c:v>44435</c:v>
                </c:pt>
                <c:pt idx="239">
                  <c:v>44436</c:v>
                </c:pt>
                <c:pt idx="240">
                  <c:v>44437</c:v>
                </c:pt>
                <c:pt idx="241">
                  <c:v>44438</c:v>
                </c:pt>
                <c:pt idx="242">
                  <c:v>44439</c:v>
                </c:pt>
                <c:pt idx="243">
                  <c:v>44440</c:v>
                </c:pt>
                <c:pt idx="244">
                  <c:v>44441</c:v>
                </c:pt>
                <c:pt idx="245">
                  <c:v>44442</c:v>
                </c:pt>
                <c:pt idx="246">
                  <c:v>44443</c:v>
                </c:pt>
                <c:pt idx="247">
                  <c:v>44444</c:v>
                </c:pt>
                <c:pt idx="248">
                  <c:v>44445</c:v>
                </c:pt>
                <c:pt idx="249">
                  <c:v>44446</c:v>
                </c:pt>
                <c:pt idx="250">
                  <c:v>44447</c:v>
                </c:pt>
                <c:pt idx="251">
                  <c:v>44448</c:v>
                </c:pt>
                <c:pt idx="252">
                  <c:v>44449</c:v>
                </c:pt>
                <c:pt idx="253">
                  <c:v>44450</c:v>
                </c:pt>
                <c:pt idx="254">
                  <c:v>44451</c:v>
                </c:pt>
                <c:pt idx="255">
                  <c:v>44452</c:v>
                </c:pt>
                <c:pt idx="256">
                  <c:v>44453</c:v>
                </c:pt>
                <c:pt idx="257">
                  <c:v>44454</c:v>
                </c:pt>
                <c:pt idx="258">
                  <c:v>44455</c:v>
                </c:pt>
                <c:pt idx="259">
                  <c:v>44456</c:v>
                </c:pt>
                <c:pt idx="260">
                  <c:v>44457</c:v>
                </c:pt>
                <c:pt idx="261">
                  <c:v>44458</c:v>
                </c:pt>
                <c:pt idx="262">
                  <c:v>44459</c:v>
                </c:pt>
                <c:pt idx="263">
                  <c:v>44460</c:v>
                </c:pt>
                <c:pt idx="264">
                  <c:v>44461</c:v>
                </c:pt>
                <c:pt idx="265">
                  <c:v>44462</c:v>
                </c:pt>
                <c:pt idx="266">
                  <c:v>44463</c:v>
                </c:pt>
                <c:pt idx="267">
                  <c:v>44464</c:v>
                </c:pt>
                <c:pt idx="268">
                  <c:v>44465</c:v>
                </c:pt>
                <c:pt idx="269">
                  <c:v>44466</c:v>
                </c:pt>
                <c:pt idx="270">
                  <c:v>44467</c:v>
                </c:pt>
                <c:pt idx="271">
                  <c:v>44468</c:v>
                </c:pt>
                <c:pt idx="272">
                  <c:v>44469</c:v>
                </c:pt>
                <c:pt idx="273">
                  <c:v>44470</c:v>
                </c:pt>
                <c:pt idx="274">
                  <c:v>44471</c:v>
                </c:pt>
                <c:pt idx="275">
                  <c:v>44472</c:v>
                </c:pt>
                <c:pt idx="276">
                  <c:v>44473</c:v>
                </c:pt>
                <c:pt idx="277">
                  <c:v>44474</c:v>
                </c:pt>
                <c:pt idx="278">
                  <c:v>44475</c:v>
                </c:pt>
                <c:pt idx="279">
                  <c:v>44476</c:v>
                </c:pt>
                <c:pt idx="280">
                  <c:v>44477</c:v>
                </c:pt>
                <c:pt idx="281">
                  <c:v>44478</c:v>
                </c:pt>
                <c:pt idx="282">
                  <c:v>44479</c:v>
                </c:pt>
                <c:pt idx="283">
                  <c:v>44480</c:v>
                </c:pt>
                <c:pt idx="284">
                  <c:v>44481</c:v>
                </c:pt>
                <c:pt idx="285">
                  <c:v>44482</c:v>
                </c:pt>
                <c:pt idx="286">
                  <c:v>44483</c:v>
                </c:pt>
                <c:pt idx="287">
                  <c:v>44484</c:v>
                </c:pt>
                <c:pt idx="288">
                  <c:v>44485</c:v>
                </c:pt>
                <c:pt idx="289">
                  <c:v>44486</c:v>
                </c:pt>
                <c:pt idx="290">
                  <c:v>44487</c:v>
                </c:pt>
                <c:pt idx="291">
                  <c:v>44488</c:v>
                </c:pt>
                <c:pt idx="292">
                  <c:v>44489</c:v>
                </c:pt>
                <c:pt idx="293">
                  <c:v>44490</c:v>
                </c:pt>
                <c:pt idx="294">
                  <c:v>44491</c:v>
                </c:pt>
                <c:pt idx="295">
                  <c:v>44492</c:v>
                </c:pt>
                <c:pt idx="296">
                  <c:v>44493</c:v>
                </c:pt>
                <c:pt idx="297">
                  <c:v>44494</c:v>
                </c:pt>
                <c:pt idx="298">
                  <c:v>44495</c:v>
                </c:pt>
                <c:pt idx="299">
                  <c:v>44496</c:v>
                </c:pt>
                <c:pt idx="300">
                  <c:v>44497</c:v>
                </c:pt>
                <c:pt idx="301">
                  <c:v>44498</c:v>
                </c:pt>
                <c:pt idx="302">
                  <c:v>44499</c:v>
                </c:pt>
                <c:pt idx="303">
                  <c:v>44500</c:v>
                </c:pt>
                <c:pt idx="304">
                  <c:v>44501</c:v>
                </c:pt>
                <c:pt idx="305">
                  <c:v>44502</c:v>
                </c:pt>
                <c:pt idx="306">
                  <c:v>44503</c:v>
                </c:pt>
                <c:pt idx="307">
                  <c:v>44504</c:v>
                </c:pt>
                <c:pt idx="308">
                  <c:v>44505</c:v>
                </c:pt>
                <c:pt idx="309">
                  <c:v>44506</c:v>
                </c:pt>
                <c:pt idx="310">
                  <c:v>44507</c:v>
                </c:pt>
                <c:pt idx="311">
                  <c:v>44508</c:v>
                </c:pt>
                <c:pt idx="312">
                  <c:v>44509</c:v>
                </c:pt>
                <c:pt idx="313">
                  <c:v>44510</c:v>
                </c:pt>
                <c:pt idx="314">
                  <c:v>44511</c:v>
                </c:pt>
                <c:pt idx="315">
                  <c:v>44512</c:v>
                </c:pt>
                <c:pt idx="316">
                  <c:v>44513</c:v>
                </c:pt>
                <c:pt idx="317">
                  <c:v>44514</c:v>
                </c:pt>
                <c:pt idx="318">
                  <c:v>44515</c:v>
                </c:pt>
                <c:pt idx="319">
                  <c:v>44516</c:v>
                </c:pt>
                <c:pt idx="320">
                  <c:v>44517</c:v>
                </c:pt>
                <c:pt idx="321">
                  <c:v>44518</c:v>
                </c:pt>
                <c:pt idx="322">
                  <c:v>44519</c:v>
                </c:pt>
                <c:pt idx="323">
                  <c:v>44520</c:v>
                </c:pt>
                <c:pt idx="324">
                  <c:v>44521</c:v>
                </c:pt>
                <c:pt idx="325">
                  <c:v>44522</c:v>
                </c:pt>
                <c:pt idx="326">
                  <c:v>44523</c:v>
                </c:pt>
                <c:pt idx="327">
                  <c:v>44524</c:v>
                </c:pt>
                <c:pt idx="328">
                  <c:v>44525</c:v>
                </c:pt>
                <c:pt idx="329">
                  <c:v>44526</c:v>
                </c:pt>
                <c:pt idx="330">
                  <c:v>44527</c:v>
                </c:pt>
                <c:pt idx="331">
                  <c:v>44528</c:v>
                </c:pt>
                <c:pt idx="332">
                  <c:v>44529</c:v>
                </c:pt>
                <c:pt idx="333">
                  <c:v>44530</c:v>
                </c:pt>
                <c:pt idx="334">
                  <c:v>44531</c:v>
                </c:pt>
                <c:pt idx="335">
                  <c:v>44532</c:v>
                </c:pt>
                <c:pt idx="336">
                  <c:v>44533</c:v>
                </c:pt>
                <c:pt idx="337">
                  <c:v>44534</c:v>
                </c:pt>
                <c:pt idx="338">
                  <c:v>44535</c:v>
                </c:pt>
                <c:pt idx="339">
                  <c:v>44536</c:v>
                </c:pt>
                <c:pt idx="340">
                  <c:v>44537</c:v>
                </c:pt>
                <c:pt idx="341">
                  <c:v>44538</c:v>
                </c:pt>
                <c:pt idx="342">
                  <c:v>44539</c:v>
                </c:pt>
                <c:pt idx="343">
                  <c:v>44540</c:v>
                </c:pt>
                <c:pt idx="344">
                  <c:v>44541</c:v>
                </c:pt>
                <c:pt idx="345">
                  <c:v>44542</c:v>
                </c:pt>
                <c:pt idx="346">
                  <c:v>44543</c:v>
                </c:pt>
                <c:pt idx="347">
                  <c:v>44544</c:v>
                </c:pt>
                <c:pt idx="348">
                  <c:v>44545</c:v>
                </c:pt>
                <c:pt idx="349">
                  <c:v>44546</c:v>
                </c:pt>
                <c:pt idx="350">
                  <c:v>44547</c:v>
                </c:pt>
                <c:pt idx="351">
                  <c:v>44548</c:v>
                </c:pt>
                <c:pt idx="352">
                  <c:v>44549</c:v>
                </c:pt>
                <c:pt idx="353">
                  <c:v>44550</c:v>
                </c:pt>
                <c:pt idx="354">
                  <c:v>44551</c:v>
                </c:pt>
                <c:pt idx="355">
                  <c:v>44552</c:v>
                </c:pt>
                <c:pt idx="356">
                  <c:v>44553</c:v>
                </c:pt>
                <c:pt idx="357">
                  <c:v>44554</c:v>
                </c:pt>
                <c:pt idx="358">
                  <c:v>44555</c:v>
                </c:pt>
                <c:pt idx="359">
                  <c:v>44556</c:v>
                </c:pt>
                <c:pt idx="360">
                  <c:v>44557</c:v>
                </c:pt>
                <c:pt idx="361">
                  <c:v>44558</c:v>
                </c:pt>
                <c:pt idx="362">
                  <c:v>44559</c:v>
                </c:pt>
                <c:pt idx="363">
                  <c:v>44560</c:v>
                </c:pt>
                <c:pt idx="364">
                  <c:v>44561</c:v>
                </c:pt>
                <c:pt idx="365">
                  <c:v>44562</c:v>
                </c:pt>
                <c:pt idx="366">
                  <c:v>44563</c:v>
                </c:pt>
                <c:pt idx="367">
                  <c:v>44564</c:v>
                </c:pt>
                <c:pt idx="368">
                  <c:v>44565</c:v>
                </c:pt>
                <c:pt idx="369">
                  <c:v>44566</c:v>
                </c:pt>
                <c:pt idx="370">
                  <c:v>44567</c:v>
                </c:pt>
                <c:pt idx="371">
                  <c:v>44568</c:v>
                </c:pt>
                <c:pt idx="372">
                  <c:v>44569</c:v>
                </c:pt>
                <c:pt idx="373">
                  <c:v>44570</c:v>
                </c:pt>
                <c:pt idx="374">
                  <c:v>44571</c:v>
                </c:pt>
                <c:pt idx="375">
                  <c:v>44572</c:v>
                </c:pt>
                <c:pt idx="376">
                  <c:v>44573</c:v>
                </c:pt>
                <c:pt idx="377">
                  <c:v>44574</c:v>
                </c:pt>
                <c:pt idx="378">
                  <c:v>44575</c:v>
                </c:pt>
                <c:pt idx="379">
                  <c:v>44576</c:v>
                </c:pt>
                <c:pt idx="380">
                  <c:v>44577</c:v>
                </c:pt>
                <c:pt idx="381">
                  <c:v>44578</c:v>
                </c:pt>
                <c:pt idx="382">
                  <c:v>44579</c:v>
                </c:pt>
                <c:pt idx="383">
                  <c:v>44580</c:v>
                </c:pt>
                <c:pt idx="384">
                  <c:v>44581</c:v>
                </c:pt>
                <c:pt idx="385">
                  <c:v>44582</c:v>
                </c:pt>
                <c:pt idx="386">
                  <c:v>44583</c:v>
                </c:pt>
                <c:pt idx="387">
                  <c:v>44584</c:v>
                </c:pt>
                <c:pt idx="388">
                  <c:v>44585</c:v>
                </c:pt>
                <c:pt idx="389">
                  <c:v>44586</c:v>
                </c:pt>
                <c:pt idx="390">
                  <c:v>44587</c:v>
                </c:pt>
                <c:pt idx="391">
                  <c:v>44588</c:v>
                </c:pt>
                <c:pt idx="392">
                  <c:v>44589</c:v>
                </c:pt>
                <c:pt idx="393">
                  <c:v>44590</c:v>
                </c:pt>
                <c:pt idx="394">
                  <c:v>44591</c:v>
                </c:pt>
                <c:pt idx="395">
                  <c:v>44592</c:v>
                </c:pt>
                <c:pt idx="396">
                  <c:v>44593</c:v>
                </c:pt>
                <c:pt idx="397">
                  <c:v>44594</c:v>
                </c:pt>
                <c:pt idx="398">
                  <c:v>44595</c:v>
                </c:pt>
                <c:pt idx="399">
                  <c:v>44596</c:v>
                </c:pt>
                <c:pt idx="400">
                  <c:v>44597</c:v>
                </c:pt>
                <c:pt idx="401">
                  <c:v>44598</c:v>
                </c:pt>
                <c:pt idx="402">
                  <c:v>44599</c:v>
                </c:pt>
                <c:pt idx="403">
                  <c:v>44600</c:v>
                </c:pt>
                <c:pt idx="404">
                  <c:v>44601</c:v>
                </c:pt>
                <c:pt idx="405">
                  <c:v>44602</c:v>
                </c:pt>
                <c:pt idx="406">
                  <c:v>44603</c:v>
                </c:pt>
                <c:pt idx="407">
                  <c:v>44604</c:v>
                </c:pt>
                <c:pt idx="408">
                  <c:v>44605</c:v>
                </c:pt>
                <c:pt idx="409">
                  <c:v>44606</c:v>
                </c:pt>
                <c:pt idx="410">
                  <c:v>44607</c:v>
                </c:pt>
                <c:pt idx="411">
                  <c:v>44608</c:v>
                </c:pt>
                <c:pt idx="412">
                  <c:v>44609</c:v>
                </c:pt>
                <c:pt idx="413">
                  <c:v>44610</c:v>
                </c:pt>
                <c:pt idx="414">
                  <c:v>44611</c:v>
                </c:pt>
                <c:pt idx="415">
                  <c:v>44612</c:v>
                </c:pt>
                <c:pt idx="416">
                  <c:v>44613</c:v>
                </c:pt>
                <c:pt idx="417">
                  <c:v>44614</c:v>
                </c:pt>
                <c:pt idx="418">
                  <c:v>44615</c:v>
                </c:pt>
                <c:pt idx="419">
                  <c:v>44616</c:v>
                </c:pt>
                <c:pt idx="420">
                  <c:v>44617</c:v>
                </c:pt>
                <c:pt idx="421">
                  <c:v>44618</c:v>
                </c:pt>
                <c:pt idx="422">
                  <c:v>44619</c:v>
                </c:pt>
                <c:pt idx="423">
                  <c:v>44620</c:v>
                </c:pt>
                <c:pt idx="424">
                  <c:v>44621</c:v>
                </c:pt>
                <c:pt idx="425">
                  <c:v>44622</c:v>
                </c:pt>
                <c:pt idx="426">
                  <c:v>44623</c:v>
                </c:pt>
                <c:pt idx="427">
                  <c:v>44624</c:v>
                </c:pt>
                <c:pt idx="428">
                  <c:v>44625</c:v>
                </c:pt>
                <c:pt idx="429">
                  <c:v>44626</c:v>
                </c:pt>
                <c:pt idx="430">
                  <c:v>44627</c:v>
                </c:pt>
                <c:pt idx="431">
                  <c:v>44628</c:v>
                </c:pt>
                <c:pt idx="432">
                  <c:v>44629</c:v>
                </c:pt>
                <c:pt idx="433">
                  <c:v>44630</c:v>
                </c:pt>
                <c:pt idx="434">
                  <c:v>44631</c:v>
                </c:pt>
                <c:pt idx="435">
                  <c:v>44632</c:v>
                </c:pt>
                <c:pt idx="436">
                  <c:v>44633</c:v>
                </c:pt>
                <c:pt idx="437">
                  <c:v>44634</c:v>
                </c:pt>
                <c:pt idx="438">
                  <c:v>44635</c:v>
                </c:pt>
                <c:pt idx="439">
                  <c:v>44636</c:v>
                </c:pt>
                <c:pt idx="440">
                  <c:v>44637</c:v>
                </c:pt>
                <c:pt idx="441">
                  <c:v>44638</c:v>
                </c:pt>
                <c:pt idx="442">
                  <c:v>44639</c:v>
                </c:pt>
                <c:pt idx="443">
                  <c:v>44640</c:v>
                </c:pt>
                <c:pt idx="444">
                  <c:v>44641</c:v>
                </c:pt>
                <c:pt idx="445">
                  <c:v>44642</c:v>
                </c:pt>
                <c:pt idx="446">
                  <c:v>44643</c:v>
                </c:pt>
                <c:pt idx="447">
                  <c:v>44644</c:v>
                </c:pt>
                <c:pt idx="448">
                  <c:v>44645</c:v>
                </c:pt>
                <c:pt idx="449">
                  <c:v>44646</c:v>
                </c:pt>
                <c:pt idx="450">
                  <c:v>44647</c:v>
                </c:pt>
                <c:pt idx="451">
                  <c:v>44648</c:v>
                </c:pt>
                <c:pt idx="452">
                  <c:v>44649</c:v>
                </c:pt>
                <c:pt idx="453">
                  <c:v>44650</c:v>
                </c:pt>
                <c:pt idx="454">
                  <c:v>44651</c:v>
                </c:pt>
                <c:pt idx="455">
                  <c:v>44652</c:v>
                </c:pt>
                <c:pt idx="456">
                  <c:v>44653</c:v>
                </c:pt>
                <c:pt idx="457">
                  <c:v>44654</c:v>
                </c:pt>
                <c:pt idx="458">
                  <c:v>44655</c:v>
                </c:pt>
                <c:pt idx="459">
                  <c:v>44656</c:v>
                </c:pt>
                <c:pt idx="460">
                  <c:v>44657</c:v>
                </c:pt>
                <c:pt idx="461">
                  <c:v>44658</c:v>
                </c:pt>
              </c:numCache>
            </c:numRef>
          </c:cat>
          <c:val>
            <c:numRef>
              <c:f>List1!$B$2:$B$463</c:f>
              <c:numCache>
                <c:formatCode>General</c:formatCode>
                <c:ptCount val="462"/>
                <c:pt idx="0">
                  <c:v>1.7296050730000001E-3</c:v>
                </c:pt>
                <c:pt idx="1">
                  <c:v>3.9952057499999998E-4</c:v>
                </c:pt>
                <c:pt idx="2">
                  <c:v>1.2686330469999999E-3</c:v>
                </c:pt>
                <c:pt idx="3">
                  <c:v>9.2095165000000004E-4</c:v>
                </c:pt>
                <c:pt idx="4">
                  <c:v>9.1423347200000004E-4</c:v>
                </c:pt>
                <c:pt idx="5">
                  <c:v>4.4665289400000002E-4</c:v>
                </c:pt>
                <c:pt idx="6">
                  <c:v>1.2638020480000001E-3</c:v>
                </c:pt>
                <c:pt idx="7">
                  <c:v>6.0606060600000003E-4</c:v>
                </c:pt>
                <c:pt idx="8">
                  <c:v>1.058076651E-3</c:v>
                </c:pt>
                <c:pt idx="9">
                  <c:v>1.148369315E-3</c:v>
                </c:pt>
                <c:pt idx="10">
                  <c:v>1.3726111280000001E-3</c:v>
                </c:pt>
                <c:pt idx="11">
                  <c:v>1.381978993E-3</c:v>
                </c:pt>
                <c:pt idx="12">
                  <c:v>1.184402332E-3</c:v>
                </c:pt>
                <c:pt idx="13">
                  <c:v>1.4740203900000001E-3</c:v>
                </c:pt>
                <c:pt idx="14">
                  <c:v>1.068033749E-3</c:v>
                </c:pt>
                <c:pt idx="15">
                  <c:v>1.329029808E-3</c:v>
                </c:pt>
                <c:pt idx="16">
                  <c:v>7.53295668E-4</c:v>
                </c:pt>
                <c:pt idx="17">
                  <c:v>2.2015022010000002E-3</c:v>
                </c:pt>
                <c:pt idx="18">
                  <c:v>1.863739904E-3</c:v>
                </c:pt>
                <c:pt idx="19">
                  <c:v>1.0886657790000001E-3</c:v>
                </c:pt>
                <c:pt idx="20">
                  <c:v>1.051801209E-3</c:v>
                </c:pt>
                <c:pt idx="21">
                  <c:v>3.7497070539999999E-3</c:v>
                </c:pt>
                <c:pt idx="22">
                  <c:v>2.1126760560000002E-3</c:v>
                </c:pt>
                <c:pt idx="23">
                  <c:v>4.5360824740000001E-3</c:v>
                </c:pt>
                <c:pt idx="24">
                  <c:v>3.5511363630000002E-3</c:v>
                </c:pt>
                <c:pt idx="25">
                  <c:v>3.2442954469999999E-3</c:v>
                </c:pt>
                <c:pt idx="26">
                  <c:v>2.79687682E-3</c:v>
                </c:pt>
                <c:pt idx="27">
                  <c:v>4.7012247919999998E-3</c:v>
                </c:pt>
                <c:pt idx="28">
                  <c:v>3.2086881400000002E-3</c:v>
                </c:pt>
                <c:pt idx="29">
                  <c:v>3.6701737209999998E-3</c:v>
                </c:pt>
                <c:pt idx="30">
                  <c:v>6.1349693249999997E-3</c:v>
                </c:pt>
                <c:pt idx="31">
                  <c:v>3.6996437379999999E-3</c:v>
                </c:pt>
                <c:pt idx="32">
                  <c:v>3.4748615480000001E-3</c:v>
                </c:pt>
                <c:pt idx="33">
                  <c:v>5.1297835229999998E-3</c:v>
                </c:pt>
                <c:pt idx="34">
                  <c:v>5.6310441909999997E-3</c:v>
                </c:pt>
                <c:pt idx="35">
                  <c:v>3.5738990080000001E-3</c:v>
                </c:pt>
                <c:pt idx="36">
                  <c:v>3.7144036309999999E-3</c:v>
                </c:pt>
                <c:pt idx="37">
                  <c:v>3.6452004860000001E-3</c:v>
                </c:pt>
                <c:pt idx="38">
                  <c:v>5.3353658530000004E-3</c:v>
                </c:pt>
                <c:pt idx="39">
                  <c:v>5.8766859340000002E-3</c:v>
                </c:pt>
                <c:pt idx="40">
                  <c:v>4.4675324670000001E-3</c:v>
                </c:pt>
                <c:pt idx="41">
                  <c:v>3.5230650659999999E-3</c:v>
                </c:pt>
                <c:pt idx="42">
                  <c:v>4.0485829950000001E-3</c:v>
                </c:pt>
                <c:pt idx="43">
                  <c:v>5.2093382210000004E-3</c:v>
                </c:pt>
                <c:pt idx="44">
                  <c:v>4.1379310339999999E-3</c:v>
                </c:pt>
                <c:pt idx="45">
                  <c:v>5.4571778590000002E-3</c:v>
                </c:pt>
                <c:pt idx="46">
                  <c:v>4.8073134210000002E-3</c:v>
                </c:pt>
                <c:pt idx="47">
                  <c:v>5.6240928879999997E-3</c:v>
                </c:pt>
                <c:pt idx="48">
                  <c:v>5.7651547260000003E-3</c:v>
                </c:pt>
                <c:pt idx="49">
                  <c:v>5.189094107E-3</c:v>
                </c:pt>
                <c:pt idx="50">
                  <c:v>6.2939110069999997E-3</c:v>
                </c:pt>
                <c:pt idx="51">
                  <c:v>5.12320078E-3</c:v>
                </c:pt>
                <c:pt idx="52">
                  <c:v>5.7227087479999996E-3</c:v>
                </c:pt>
                <c:pt idx="53">
                  <c:v>5.2641473960000004E-3</c:v>
                </c:pt>
                <c:pt idx="54">
                  <c:v>6.674800832E-3</c:v>
                </c:pt>
                <c:pt idx="55">
                  <c:v>5.3068444679999997E-3</c:v>
                </c:pt>
                <c:pt idx="56">
                  <c:v>5.4963469399999998E-3</c:v>
                </c:pt>
                <c:pt idx="57">
                  <c:v>3.166962249E-3</c:v>
                </c:pt>
                <c:pt idx="58">
                  <c:v>4.9729729719999996E-3</c:v>
                </c:pt>
                <c:pt idx="59">
                  <c:v>4.9039311840000004E-3</c:v>
                </c:pt>
                <c:pt idx="60">
                  <c:v>5.6730882869999999E-3</c:v>
                </c:pt>
                <c:pt idx="61">
                  <c:v>6.6341463410000004E-3</c:v>
                </c:pt>
                <c:pt idx="62">
                  <c:v>5.8230076510000003E-3</c:v>
                </c:pt>
                <c:pt idx="63">
                  <c:v>6.5497252120000002E-3</c:v>
                </c:pt>
                <c:pt idx="64">
                  <c:v>8.2447385550000005E-3</c:v>
                </c:pt>
                <c:pt idx="65">
                  <c:v>6.9324090119999996E-3</c:v>
                </c:pt>
                <c:pt idx="66">
                  <c:v>5.1115241629999999E-3</c:v>
                </c:pt>
                <c:pt idx="67">
                  <c:v>2.9761904759999999E-3</c:v>
                </c:pt>
                <c:pt idx="68">
                  <c:v>5.1100361099999997E-3</c:v>
                </c:pt>
                <c:pt idx="69">
                  <c:v>4.8419755259999997E-3</c:v>
                </c:pt>
                <c:pt idx="70">
                  <c:v>6.2926409220000002E-3</c:v>
                </c:pt>
                <c:pt idx="71">
                  <c:v>5.4968287520000001E-3</c:v>
                </c:pt>
                <c:pt idx="72">
                  <c:v>7.0984915699999996E-3</c:v>
                </c:pt>
                <c:pt idx="73">
                  <c:v>5.7781919850000002E-3</c:v>
                </c:pt>
                <c:pt idx="74">
                  <c:v>4.3103448270000004E-3</c:v>
                </c:pt>
                <c:pt idx="75">
                  <c:v>5.7523214720000002E-3</c:v>
                </c:pt>
                <c:pt idx="76">
                  <c:v>4.819723792E-3</c:v>
                </c:pt>
                <c:pt idx="77">
                  <c:v>6.4148253740000001E-3</c:v>
                </c:pt>
                <c:pt idx="78">
                  <c:v>5.936319481E-3</c:v>
                </c:pt>
                <c:pt idx="79">
                  <c:v>4.9648324359999997E-3</c:v>
                </c:pt>
                <c:pt idx="80">
                  <c:v>5.1707551700000002E-3</c:v>
                </c:pt>
                <c:pt idx="81">
                  <c:v>5.6874605030000002E-3</c:v>
                </c:pt>
                <c:pt idx="82">
                  <c:v>6.7054090290000002E-3</c:v>
                </c:pt>
                <c:pt idx="83">
                  <c:v>3.1312625250000002E-3</c:v>
                </c:pt>
                <c:pt idx="84">
                  <c:v>1.1088452714E-2</c:v>
                </c:pt>
                <c:pt idx="85">
                  <c:v>5.988023952E-3</c:v>
                </c:pt>
                <c:pt idx="86">
                  <c:v>5.6915196350000004E-3</c:v>
                </c:pt>
                <c:pt idx="87">
                  <c:v>7.8425780689999995E-3</c:v>
                </c:pt>
                <c:pt idx="88">
                  <c:v>6.3102340520000003E-3</c:v>
                </c:pt>
                <c:pt idx="89">
                  <c:v>7.2216923279999996E-3</c:v>
                </c:pt>
                <c:pt idx="90">
                  <c:v>8.2330588980000004E-3</c:v>
                </c:pt>
                <c:pt idx="91">
                  <c:v>8.7426073540000006E-3</c:v>
                </c:pt>
                <c:pt idx="92">
                  <c:v>5.5172413789999998E-3</c:v>
                </c:pt>
                <c:pt idx="93">
                  <c:v>7.1868583159999996E-3</c:v>
                </c:pt>
                <c:pt idx="94">
                  <c:v>7.580978635E-3</c:v>
                </c:pt>
                <c:pt idx="95">
                  <c:v>8.6679639120000006E-3</c:v>
                </c:pt>
                <c:pt idx="96">
                  <c:v>7.5842696620000002E-3</c:v>
                </c:pt>
                <c:pt idx="97">
                  <c:v>6.1786182360000002E-3</c:v>
                </c:pt>
                <c:pt idx="98">
                  <c:v>5.1261021110000004E-3</c:v>
                </c:pt>
                <c:pt idx="99">
                  <c:v>7.5926753010000002E-3</c:v>
                </c:pt>
                <c:pt idx="100">
                  <c:v>1.1011011011000001E-2</c:v>
                </c:pt>
                <c:pt idx="101">
                  <c:v>1.0687022900000001E-2</c:v>
                </c:pt>
                <c:pt idx="102">
                  <c:v>7.7760497659999997E-3</c:v>
                </c:pt>
                <c:pt idx="103">
                  <c:v>6.1284305880000001E-3</c:v>
                </c:pt>
                <c:pt idx="104">
                  <c:v>7.5414781289999998E-3</c:v>
                </c:pt>
                <c:pt idx="105">
                  <c:v>7.9803560459999999E-3</c:v>
                </c:pt>
                <c:pt idx="106">
                  <c:v>9.6092248549999992E-3</c:v>
                </c:pt>
                <c:pt idx="107">
                  <c:v>9.3896713609999995E-3</c:v>
                </c:pt>
                <c:pt idx="108">
                  <c:v>6.5165876770000002E-3</c:v>
                </c:pt>
                <c:pt idx="109">
                  <c:v>7.012987012E-3</c:v>
                </c:pt>
                <c:pt idx="110">
                  <c:v>4.3551088770000003E-3</c:v>
                </c:pt>
                <c:pt idx="111">
                  <c:v>5.6412185030000001E-3</c:v>
                </c:pt>
                <c:pt idx="112">
                  <c:v>8.7088224149999994E-3</c:v>
                </c:pt>
                <c:pt idx="113">
                  <c:v>6.777108433E-3</c:v>
                </c:pt>
                <c:pt idx="114">
                  <c:v>1.1862396204E-2</c:v>
                </c:pt>
                <c:pt idx="115">
                  <c:v>1.2121212120999999E-2</c:v>
                </c:pt>
                <c:pt idx="116">
                  <c:v>6.3985374770000004E-3</c:v>
                </c:pt>
                <c:pt idx="117">
                  <c:v>8.3333333329999992E-3</c:v>
                </c:pt>
                <c:pt idx="118">
                  <c:v>1.1915269196E-2</c:v>
                </c:pt>
                <c:pt idx="119">
                  <c:v>1.1307100859E-2</c:v>
                </c:pt>
                <c:pt idx="120">
                  <c:v>1.0067114093E-2</c:v>
                </c:pt>
                <c:pt idx="121">
                  <c:v>3.8535645469999998E-3</c:v>
                </c:pt>
                <c:pt idx="122">
                  <c:v>1.0661928031000001E-2</c:v>
                </c:pt>
                <c:pt idx="123">
                  <c:v>8.1632653060000008E-3</c:v>
                </c:pt>
                <c:pt idx="124">
                  <c:v>8.4033613440000002E-3</c:v>
                </c:pt>
                <c:pt idx="125">
                  <c:v>1.1235955056E-2</c:v>
                </c:pt>
                <c:pt idx="126">
                  <c:v>9.0036014399999999E-3</c:v>
                </c:pt>
                <c:pt idx="127">
                  <c:v>1.2145748987E-2</c:v>
                </c:pt>
                <c:pt idx="128">
                  <c:v>2.0151133501E-2</c:v>
                </c:pt>
                <c:pt idx="129">
                  <c:v>8.8945362129999993E-3</c:v>
                </c:pt>
                <c:pt idx="130">
                  <c:v>8.7361677339999992E-3</c:v>
                </c:pt>
                <c:pt idx="131">
                  <c:v>8.5603112839999999E-3</c:v>
                </c:pt>
                <c:pt idx="132">
                  <c:v>1.2810248198E-2</c:v>
                </c:pt>
                <c:pt idx="133">
                  <c:v>1.8552875694999998E-2</c:v>
                </c:pt>
                <c:pt idx="134">
                  <c:v>9.9173553710000008E-3</c:v>
                </c:pt>
                <c:pt idx="135">
                  <c:v>1.5151515151E-2</c:v>
                </c:pt>
                <c:pt idx="136">
                  <c:v>1.3793103447999999E-2</c:v>
                </c:pt>
                <c:pt idx="137">
                  <c:v>1.3832384051999999E-2</c:v>
                </c:pt>
                <c:pt idx="138">
                  <c:v>1.7521902377E-2</c:v>
                </c:pt>
                <c:pt idx="139">
                  <c:v>2.2598870056E-2</c:v>
                </c:pt>
                <c:pt idx="140">
                  <c:v>1.8759018759000001E-2</c:v>
                </c:pt>
                <c:pt idx="141">
                  <c:v>1.4662756597999999E-2</c:v>
                </c:pt>
                <c:pt idx="142">
                  <c:v>9.9502487560000005E-3</c:v>
                </c:pt>
                <c:pt idx="143">
                  <c:v>1.2622720897000001E-2</c:v>
                </c:pt>
                <c:pt idx="144">
                  <c:v>1.6200294550000001E-2</c:v>
                </c:pt>
                <c:pt idx="145">
                  <c:v>1.2589928057E-2</c:v>
                </c:pt>
                <c:pt idx="146">
                  <c:v>1.3358778625E-2</c:v>
                </c:pt>
                <c:pt idx="147">
                  <c:v>1.7130620985000001E-2</c:v>
                </c:pt>
                <c:pt idx="148">
                  <c:v>1.3333333333E-2</c:v>
                </c:pt>
                <c:pt idx="149">
                  <c:v>1.7391304347000001E-2</c:v>
                </c:pt>
                <c:pt idx="150">
                  <c:v>1.3157894736E-2</c:v>
                </c:pt>
                <c:pt idx="151">
                  <c:v>1.4256619143999999E-2</c:v>
                </c:pt>
                <c:pt idx="152">
                  <c:v>1.923076923E-2</c:v>
                </c:pt>
                <c:pt idx="153">
                  <c:v>1.7977528089000001E-2</c:v>
                </c:pt>
                <c:pt idx="154">
                  <c:v>6.0060060060000003E-3</c:v>
                </c:pt>
                <c:pt idx="155">
                  <c:v>1.2903225806E-2</c:v>
                </c:pt>
                <c:pt idx="156">
                  <c:v>0</c:v>
                </c:pt>
                <c:pt idx="157">
                  <c:v>1.9607843137000001E-2</c:v>
                </c:pt>
                <c:pt idx="158">
                  <c:v>1.0230179028000001E-2</c:v>
                </c:pt>
                <c:pt idx="159">
                  <c:v>2.2471910112000001E-2</c:v>
                </c:pt>
                <c:pt idx="160">
                  <c:v>2.9850746268000002E-2</c:v>
                </c:pt>
                <c:pt idx="161">
                  <c:v>1.6216216216000001E-2</c:v>
                </c:pt>
                <c:pt idx="162">
                  <c:v>3.7499999999999999E-2</c:v>
                </c:pt>
                <c:pt idx="163">
                  <c:v>2.3255813952999999E-2</c:v>
                </c:pt>
                <c:pt idx="164">
                  <c:v>1.1049723756E-2</c:v>
                </c:pt>
                <c:pt idx="165">
                  <c:v>2.2935779816E-2</c:v>
                </c:pt>
                <c:pt idx="166">
                  <c:v>4.2553191488999997E-2</c:v>
                </c:pt>
                <c:pt idx="167">
                  <c:v>1.7857142857000002E-2</c:v>
                </c:pt>
                <c:pt idx="168">
                  <c:v>1.9736842104999999E-2</c:v>
                </c:pt>
                <c:pt idx="169">
                  <c:v>1.5384615383999999E-2</c:v>
                </c:pt>
                <c:pt idx="170">
                  <c:v>1.6666666665999998E-2</c:v>
                </c:pt>
                <c:pt idx="171">
                  <c:v>2.3809523809000002E-2</c:v>
                </c:pt>
                <c:pt idx="172">
                  <c:v>8.8495575219999997E-3</c:v>
                </c:pt>
                <c:pt idx="173">
                  <c:v>4.1322314048999997E-2</c:v>
                </c:pt>
                <c:pt idx="174">
                  <c:v>3.8834951456000001E-2</c:v>
                </c:pt>
                <c:pt idx="175">
                  <c:v>7.4626865670000004E-3</c:v>
                </c:pt>
                <c:pt idx="176">
                  <c:v>1.4705882352E-2</c:v>
                </c:pt>
                <c:pt idx="177">
                  <c:v>0</c:v>
                </c:pt>
                <c:pt idx="178">
                  <c:v>3.1055900620999999E-2</c:v>
                </c:pt>
                <c:pt idx="179">
                  <c:v>2.4096385541999998E-2</c:v>
                </c:pt>
                <c:pt idx="180">
                  <c:v>4.8275862067999997E-2</c:v>
                </c:pt>
                <c:pt idx="181">
                  <c:v>3.9548022597999999E-2</c:v>
                </c:pt>
                <c:pt idx="182">
                  <c:v>6.1452513966000002E-2</c:v>
                </c:pt>
                <c:pt idx="183">
                  <c:v>2.34375E-2</c:v>
                </c:pt>
                <c:pt idx="184">
                  <c:v>2.6785714285000001E-2</c:v>
                </c:pt>
                <c:pt idx="185">
                  <c:v>3.7037037037000002E-2</c:v>
                </c:pt>
                <c:pt idx="186">
                  <c:v>1.7699115043999999E-2</c:v>
                </c:pt>
                <c:pt idx="187">
                  <c:v>1.7543859649000001E-2</c:v>
                </c:pt>
                <c:pt idx="188">
                  <c:v>4.0740740740000003E-2</c:v>
                </c:pt>
                <c:pt idx="189">
                  <c:v>2.7118644067E-2</c:v>
                </c:pt>
                <c:pt idx="190">
                  <c:v>5.7471264367000001E-2</c:v>
                </c:pt>
                <c:pt idx="191">
                  <c:v>3.0674846624999998E-2</c:v>
                </c:pt>
                <c:pt idx="192">
                  <c:v>2.8000000000000001E-2</c:v>
                </c:pt>
                <c:pt idx="193">
                  <c:v>2.416918429E-2</c:v>
                </c:pt>
                <c:pt idx="194">
                  <c:v>4.4280442804000002E-2</c:v>
                </c:pt>
                <c:pt idx="195">
                  <c:v>3.9301310042999998E-2</c:v>
                </c:pt>
                <c:pt idx="196">
                  <c:v>3.5433070865999998E-2</c:v>
                </c:pt>
                <c:pt idx="197">
                  <c:v>1.9900497512000001E-2</c:v>
                </c:pt>
                <c:pt idx="198">
                  <c:v>2.4793388429000002E-2</c:v>
                </c:pt>
                <c:pt idx="199">
                  <c:v>1.7699115043999999E-2</c:v>
                </c:pt>
                <c:pt idx="200">
                  <c:v>4.1533546324999997E-2</c:v>
                </c:pt>
                <c:pt idx="201">
                  <c:v>4.1152263373999999E-2</c:v>
                </c:pt>
                <c:pt idx="202">
                  <c:v>3.1963470319000001E-2</c:v>
                </c:pt>
                <c:pt idx="203">
                  <c:v>4.5226130652999998E-2</c:v>
                </c:pt>
                <c:pt idx="204">
                  <c:v>5.2238805970000003E-2</c:v>
                </c:pt>
                <c:pt idx="205">
                  <c:v>2.4096385541999998E-2</c:v>
                </c:pt>
                <c:pt idx="206">
                  <c:v>3.3492822966000001E-2</c:v>
                </c:pt>
                <c:pt idx="207">
                  <c:v>2.6515151515000002E-2</c:v>
                </c:pt>
                <c:pt idx="208">
                  <c:v>1.9417475728000001E-2</c:v>
                </c:pt>
                <c:pt idx="209">
                  <c:v>5.0228310502000002E-2</c:v>
                </c:pt>
                <c:pt idx="210">
                  <c:v>7.2368421052000004E-2</c:v>
                </c:pt>
                <c:pt idx="211">
                  <c:v>0</c:v>
                </c:pt>
                <c:pt idx="212">
                  <c:v>0</c:v>
                </c:pt>
                <c:pt idx="213">
                  <c:v>3.7735849055999998E-2</c:v>
                </c:pt>
                <c:pt idx="214">
                  <c:v>2.8112449798999999E-2</c:v>
                </c:pt>
                <c:pt idx="215">
                  <c:v>1.4150943395999999E-2</c:v>
                </c:pt>
                <c:pt idx="216">
                  <c:v>2.9239766080999999E-2</c:v>
                </c:pt>
                <c:pt idx="217">
                  <c:v>3.2432432432000002E-2</c:v>
                </c:pt>
                <c:pt idx="218">
                  <c:v>3.1055900620999999E-2</c:v>
                </c:pt>
                <c:pt idx="219">
                  <c:v>9.2592592590000009E-3</c:v>
                </c:pt>
                <c:pt idx="220">
                  <c:v>2.7624309392000002E-2</c:v>
                </c:pt>
                <c:pt idx="221">
                  <c:v>2.2471910112000001E-2</c:v>
                </c:pt>
                <c:pt idx="222">
                  <c:v>2.6548672565999999E-2</c:v>
                </c:pt>
                <c:pt idx="223">
                  <c:v>2.5641025641000001E-2</c:v>
                </c:pt>
                <c:pt idx="224">
                  <c:v>3.4632034632E-2</c:v>
                </c:pt>
                <c:pt idx="225">
                  <c:v>6.9930069930000003E-3</c:v>
                </c:pt>
                <c:pt idx="226">
                  <c:v>0</c:v>
                </c:pt>
                <c:pt idx="227">
                  <c:v>4.4247787609999999E-2</c:v>
                </c:pt>
                <c:pt idx="228">
                  <c:v>2.5974025974E-2</c:v>
                </c:pt>
                <c:pt idx="229">
                  <c:v>3.6866359447000001E-2</c:v>
                </c:pt>
                <c:pt idx="230">
                  <c:v>2.3391812865E-2</c:v>
                </c:pt>
                <c:pt idx="231">
                  <c:v>3.9325842696E-2</c:v>
                </c:pt>
                <c:pt idx="232">
                  <c:v>3.5714285714000003E-2</c:v>
                </c:pt>
                <c:pt idx="233">
                  <c:v>5.3097345131999998E-2</c:v>
                </c:pt>
                <c:pt idx="234">
                  <c:v>2.2831050227999999E-2</c:v>
                </c:pt>
                <c:pt idx="235">
                  <c:v>2.3076923076000001E-2</c:v>
                </c:pt>
                <c:pt idx="236">
                  <c:v>1.9607843137000001E-2</c:v>
                </c:pt>
                <c:pt idx="237">
                  <c:v>1.8348623852999998E-2</c:v>
                </c:pt>
                <c:pt idx="238">
                  <c:v>2.6595744679999998E-2</c:v>
                </c:pt>
                <c:pt idx="239">
                  <c:v>3.6231884057000001E-2</c:v>
                </c:pt>
                <c:pt idx="240">
                  <c:v>1.2195121951000001E-2</c:v>
                </c:pt>
                <c:pt idx="241">
                  <c:v>1.2295081967E-2</c:v>
                </c:pt>
                <c:pt idx="242">
                  <c:v>1.6835016835000001E-2</c:v>
                </c:pt>
                <c:pt idx="243">
                  <c:v>1.1320754715999999E-2</c:v>
                </c:pt>
                <c:pt idx="244">
                  <c:v>2.5477707006000001E-2</c:v>
                </c:pt>
                <c:pt idx="245">
                  <c:v>3.7267080745E-2</c:v>
                </c:pt>
                <c:pt idx="246">
                  <c:v>1.8957345971E-2</c:v>
                </c:pt>
                <c:pt idx="247">
                  <c:v>2.0833333333000002E-2</c:v>
                </c:pt>
                <c:pt idx="248">
                  <c:v>1.9950124688E-2</c:v>
                </c:pt>
                <c:pt idx="249">
                  <c:v>1.3536379018E-2</c:v>
                </c:pt>
                <c:pt idx="250">
                  <c:v>2.7989821881999999E-2</c:v>
                </c:pt>
                <c:pt idx="251">
                  <c:v>2.5462962961999999E-2</c:v>
                </c:pt>
                <c:pt idx="252">
                  <c:v>1.978021978E-2</c:v>
                </c:pt>
                <c:pt idx="253">
                  <c:v>1.1811023622E-2</c:v>
                </c:pt>
                <c:pt idx="254">
                  <c:v>3.5211267604999999E-2</c:v>
                </c:pt>
                <c:pt idx="255">
                  <c:v>2.5590551180999999E-2</c:v>
                </c:pt>
                <c:pt idx="256">
                  <c:v>2.1089630931000001E-2</c:v>
                </c:pt>
                <c:pt idx="257">
                  <c:v>9.4517958409999995E-3</c:v>
                </c:pt>
                <c:pt idx="258">
                  <c:v>3.4364261168000003E-2</c:v>
                </c:pt>
                <c:pt idx="259">
                  <c:v>2.1834061134999999E-2</c:v>
                </c:pt>
                <c:pt idx="260">
                  <c:v>2.2580645161000001E-2</c:v>
                </c:pt>
                <c:pt idx="261">
                  <c:v>2.0833333333000002E-2</c:v>
                </c:pt>
                <c:pt idx="262">
                  <c:v>2.6262626261999999E-2</c:v>
                </c:pt>
                <c:pt idx="263">
                  <c:v>2.2913256954999999E-2</c:v>
                </c:pt>
                <c:pt idx="264">
                  <c:v>3.1423290202999998E-2</c:v>
                </c:pt>
                <c:pt idx="265">
                  <c:v>2.8112449798999999E-2</c:v>
                </c:pt>
                <c:pt idx="266">
                  <c:v>2.8725314182999999E-2</c:v>
                </c:pt>
                <c:pt idx="267">
                  <c:v>2.7842227378E-2</c:v>
                </c:pt>
                <c:pt idx="268">
                  <c:v>7.8125E-3</c:v>
                </c:pt>
                <c:pt idx="269">
                  <c:v>8.7719298239999997E-3</c:v>
                </c:pt>
                <c:pt idx="270">
                  <c:v>1.4553014552999999E-2</c:v>
                </c:pt>
                <c:pt idx="271">
                  <c:v>0.02</c:v>
                </c:pt>
                <c:pt idx="272">
                  <c:v>1.3903743315E-2</c:v>
                </c:pt>
                <c:pt idx="273">
                  <c:v>2.1201413427E-2</c:v>
                </c:pt>
                <c:pt idx="274">
                  <c:v>1.9538188277000001E-2</c:v>
                </c:pt>
                <c:pt idx="275">
                  <c:v>3.1347962379999999E-3</c:v>
                </c:pt>
                <c:pt idx="276">
                  <c:v>2.2538552787E-2</c:v>
                </c:pt>
                <c:pt idx="277">
                  <c:v>1.2089810017E-2</c:v>
                </c:pt>
                <c:pt idx="278">
                  <c:v>1.5962441314E-2</c:v>
                </c:pt>
                <c:pt idx="279">
                  <c:v>2.3622047244000001E-2</c:v>
                </c:pt>
                <c:pt idx="280">
                  <c:v>1.8304431598999998E-2</c:v>
                </c:pt>
                <c:pt idx="281">
                  <c:v>1.1834319526E-2</c:v>
                </c:pt>
                <c:pt idx="282">
                  <c:v>2.3121387282999999E-2</c:v>
                </c:pt>
                <c:pt idx="283">
                  <c:v>1.6800584367999999E-2</c:v>
                </c:pt>
                <c:pt idx="284">
                  <c:v>2.4579560154999999E-2</c:v>
                </c:pt>
                <c:pt idx="285">
                  <c:v>1.5748031496000001E-2</c:v>
                </c:pt>
                <c:pt idx="286">
                  <c:v>2.1587301587E-2</c:v>
                </c:pt>
                <c:pt idx="287">
                  <c:v>2.3561643835E-2</c:v>
                </c:pt>
                <c:pt idx="288">
                  <c:v>2.8523489932000001E-2</c:v>
                </c:pt>
                <c:pt idx="289">
                  <c:v>1.7283950616999999E-2</c:v>
                </c:pt>
                <c:pt idx="290">
                  <c:v>1.9312475858999999E-2</c:v>
                </c:pt>
                <c:pt idx="291">
                  <c:v>1.8132366273000002E-2</c:v>
                </c:pt>
                <c:pt idx="292">
                  <c:v>2.3802439750000001E-2</c:v>
                </c:pt>
                <c:pt idx="293">
                  <c:v>2.5394279604000002E-2</c:v>
                </c:pt>
                <c:pt idx="294">
                  <c:v>2.5741208916999998E-2</c:v>
                </c:pt>
                <c:pt idx="295">
                  <c:v>1.8867924527999999E-2</c:v>
                </c:pt>
                <c:pt idx="296">
                  <c:v>1.8666666666E-2</c:v>
                </c:pt>
                <c:pt idx="297">
                  <c:v>2.0114285714000001E-2</c:v>
                </c:pt>
                <c:pt idx="298">
                  <c:v>2.5557620816999999E-2</c:v>
                </c:pt>
                <c:pt idx="299">
                  <c:v>1.8069265516999999E-2</c:v>
                </c:pt>
                <c:pt idx="300">
                  <c:v>2.3094170402999999E-2</c:v>
                </c:pt>
                <c:pt idx="301">
                  <c:v>2.1236833162999999E-2</c:v>
                </c:pt>
                <c:pt idx="302">
                  <c:v>2.4479568234E-2</c:v>
                </c:pt>
                <c:pt idx="303">
                  <c:v>2.2401120056E-2</c:v>
                </c:pt>
                <c:pt idx="304">
                  <c:v>2.7199591366999998E-2</c:v>
                </c:pt>
                <c:pt idx="305">
                  <c:v>1.084469207E-2</c:v>
                </c:pt>
                <c:pt idx="306">
                  <c:v>2.2570339070000001E-2</c:v>
                </c:pt>
                <c:pt idx="307">
                  <c:v>3.3117104813000002E-2</c:v>
                </c:pt>
                <c:pt idx="308">
                  <c:v>2.290237467E-2</c:v>
                </c:pt>
                <c:pt idx="309">
                  <c:v>2.0961145194000001E-2</c:v>
                </c:pt>
                <c:pt idx="310">
                  <c:v>2.8064516128999999E-2</c:v>
                </c:pt>
                <c:pt idx="311">
                  <c:v>2.2105263157E-2</c:v>
                </c:pt>
                <c:pt idx="312">
                  <c:v>1.9759392431999999E-2</c:v>
                </c:pt>
                <c:pt idx="313">
                  <c:v>2.4020136641000001E-2</c:v>
                </c:pt>
                <c:pt idx="314">
                  <c:v>2.0977711180999999E-2</c:v>
                </c:pt>
                <c:pt idx="315">
                  <c:v>2.6754026754000002E-2</c:v>
                </c:pt>
                <c:pt idx="316">
                  <c:v>2.4123273112999999E-2</c:v>
                </c:pt>
                <c:pt idx="317">
                  <c:v>1.9611216239000001E-2</c:v>
                </c:pt>
                <c:pt idx="318">
                  <c:v>2.2400676245999999E-2</c:v>
                </c:pt>
                <c:pt idx="319">
                  <c:v>2.4739414384999998E-2</c:v>
                </c:pt>
                <c:pt idx="320">
                  <c:v>2.4383542825E-2</c:v>
                </c:pt>
                <c:pt idx="321">
                  <c:v>2.3824994584999998E-2</c:v>
                </c:pt>
                <c:pt idx="322">
                  <c:v>2.7557888498000001E-2</c:v>
                </c:pt>
                <c:pt idx="323">
                  <c:v>2.2380467955E-2</c:v>
                </c:pt>
                <c:pt idx="324">
                  <c:v>2.4050931384E-2</c:v>
                </c:pt>
                <c:pt idx="325">
                  <c:v>2.3212002959999999E-2</c:v>
                </c:pt>
                <c:pt idx="326">
                  <c:v>2.524169582E-2</c:v>
                </c:pt>
                <c:pt idx="327">
                  <c:v>2.2584488733999999E-2</c:v>
                </c:pt>
                <c:pt idx="328">
                  <c:v>2.2121880359E-2</c:v>
                </c:pt>
                <c:pt idx="329">
                  <c:v>3.2048238532999998E-2</c:v>
                </c:pt>
                <c:pt idx="330">
                  <c:v>2.5285925463999999E-2</c:v>
                </c:pt>
                <c:pt idx="331">
                  <c:v>2.0315789473000001E-2</c:v>
                </c:pt>
                <c:pt idx="332">
                  <c:v>2.5823932758E-2</c:v>
                </c:pt>
                <c:pt idx="333">
                  <c:v>2.4233563707E-2</c:v>
                </c:pt>
                <c:pt idx="334">
                  <c:v>2.3540272328E-2</c:v>
                </c:pt>
                <c:pt idx="335">
                  <c:v>2.5985569380999999E-2</c:v>
                </c:pt>
                <c:pt idx="336">
                  <c:v>2.4328349975E-2</c:v>
                </c:pt>
                <c:pt idx="337">
                  <c:v>2.5813891599000001E-2</c:v>
                </c:pt>
                <c:pt idx="338">
                  <c:v>1.9653358092999999E-2</c:v>
                </c:pt>
                <c:pt idx="339">
                  <c:v>2.5394045534000001E-2</c:v>
                </c:pt>
                <c:pt idx="340">
                  <c:v>2.5437677689000002E-2</c:v>
                </c:pt>
                <c:pt idx="341">
                  <c:v>2.759613654E-2</c:v>
                </c:pt>
                <c:pt idx="342">
                  <c:v>2.6012152659000001E-2</c:v>
                </c:pt>
                <c:pt idx="343">
                  <c:v>2.4158010701000002E-2</c:v>
                </c:pt>
                <c:pt idx="344">
                  <c:v>2.5734505683000002E-2</c:v>
                </c:pt>
                <c:pt idx="345">
                  <c:v>2.4568863690000001E-2</c:v>
                </c:pt>
                <c:pt idx="346">
                  <c:v>2.4496149434000001E-2</c:v>
                </c:pt>
                <c:pt idx="347">
                  <c:v>2.5998251238000002E-2</c:v>
                </c:pt>
                <c:pt idx="348">
                  <c:v>2.9974117057E-2</c:v>
                </c:pt>
                <c:pt idx="349">
                  <c:v>2.6536885244999999E-2</c:v>
                </c:pt>
                <c:pt idx="350">
                  <c:v>2.9771570856000001E-2</c:v>
                </c:pt>
                <c:pt idx="351">
                  <c:v>2.698748171E-2</c:v>
                </c:pt>
                <c:pt idx="352">
                  <c:v>2.2958518131999998E-2</c:v>
                </c:pt>
                <c:pt idx="353">
                  <c:v>2.3504030884E-2</c:v>
                </c:pt>
                <c:pt idx="354">
                  <c:v>2.7262276235000001E-2</c:v>
                </c:pt>
                <c:pt idx="355">
                  <c:v>2.9018420388E-2</c:v>
                </c:pt>
                <c:pt idx="356">
                  <c:v>3.5625409299000002E-2</c:v>
                </c:pt>
                <c:pt idx="357">
                  <c:v>4.3925233644E-2</c:v>
                </c:pt>
                <c:pt idx="358">
                  <c:v>3.2830523512999997E-2</c:v>
                </c:pt>
                <c:pt idx="359">
                  <c:v>3.4499281264000002E-2</c:v>
                </c:pt>
                <c:pt idx="360">
                  <c:v>2.9960429621000002E-2</c:v>
                </c:pt>
                <c:pt idx="361">
                  <c:v>2.9298545765E-2</c:v>
                </c:pt>
                <c:pt idx="362">
                  <c:v>3.6133270763999997E-2</c:v>
                </c:pt>
                <c:pt idx="363">
                  <c:v>3.6330152352000003E-2</c:v>
                </c:pt>
                <c:pt idx="364">
                  <c:v>4.3810981441999998E-2</c:v>
                </c:pt>
                <c:pt idx="365">
                  <c:v>4.3744531933E-2</c:v>
                </c:pt>
                <c:pt idx="366">
                  <c:v>6.3984488608000004E-2</c:v>
                </c:pt>
                <c:pt idx="367">
                  <c:v>6.2036480255999997E-2</c:v>
                </c:pt>
                <c:pt idx="368">
                  <c:v>6.4768029397999999E-2</c:v>
                </c:pt>
                <c:pt idx="369">
                  <c:v>7.8668495199999994E-2</c:v>
                </c:pt>
                <c:pt idx="370">
                  <c:v>8.6519944978999994E-2</c:v>
                </c:pt>
                <c:pt idx="371">
                  <c:v>8.1590533847000005E-2</c:v>
                </c:pt>
                <c:pt idx="372">
                  <c:v>7.6654240447000005E-2</c:v>
                </c:pt>
                <c:pt idx="373">
                  <c:v>7.7436582108999993E-2</c:v>
                </c:pt>
                <c:pt idx="374">
                  <c:v>8.7506197322000004E-2</c:v>
                </c:pt>
                <c:pt idx="375">
                  <c:v>9.5836376917000005E-2</c:v>
                </c:pt>
                <c:pt idx="376">
                  <c:v>0.106149169978</c:v>
                </c:pt>
                <c:pt idx="377">
                  <c:v>0.109783022459</c:v>
                </c:pt>
                <c:pt idx="378">
                  <c:v>0.110827340547</c:v>
                </c:pt>
                <c:pt idx="379">
                  <c:v>0.111737717453</c:v>
                </c:pt>
                <c:pt idx="380">
                  <c:v>0.10686552446600001</c:v>
                </c:pt>
                <c:pt idx="381">
                  <c:v>8.8661551576999995E-2</c:v>
                </c:pt>
                <c:pt idx="382">
                  <c:v>0.112660710394</c:v>
                </c:pt>
                <c:pt idx="383">
                  <c:v>0.15095755440200001</c:v>
                </c:pt>
                <c:pt idx="384">
                  <c:v>0.11787433286399999</c:v>
                </c:pt>
                <c:pt idx="385">
                  <c:v>0.10190868011</c:v>
                </c:pt>
                <c:pt idx="386">
                  <c:v>0.106965658137</c:v>
                </c:pt>
                <c:pt idx="387">
                  <c:v>0.215575414918</c:v>
                </c:pt>
                <c:pt idx="388">
                  <c:v>9.3222361434000006E-2</c:v>
                </c:pt>
                <c:pt idx="389">
                  <c:v>5.7424800855999998E-2</c:v>
                </c:pt>
                <c:pt idx="390">
                  <c:v>8.1347507011000006E-2</c:v>
                </c:pt>
                <c:pt idx="391">
                  <c:v>0.31756889184999998</c:v>
                </c:pt>
                <c:pt idx="392">
                  <c:v>0.144031431623</c:v>
                </c:pt>
                <c:pt idx="393">
                  <c:v>0.146815955213</c:v>
                </c:pt>
                <c:pt idx="394">
                  <c:v>0.13744280721900001</c:v>
                </c:pt>
                <c:pt idx="395">
                  <c:v>0.145158491439</c:v>
                </c:pt>
                <c:pt idx="396">
                  <c:v>0.14516538490200001</c:v>
                </c:pt>
                <c:pt idx="397">
                  <c:v>0.14519850896299999</c:v>
                </c:pt>
                <c:pt idx="398">
                  <c:v>0.14787602016500001</c:v>
                </c:pt>
                <c:pt idx="399">
                  <c:v>0.15191143911400001</c:v>
                </c:pt>
                <c:pt idx="400">
                  <c:v>0.14229065447200001</c:v>
                </c:pt>
                <c:pt idx="401">
                  <c:v>0.140271064354</c:v>
                </c:pt>
                <c:pt idx="402">
                  <c:v>0.15321082563999999</c:v>
                </c:pt>
                <c:pt idx="403">
                  <c:v>0.148497680075</c:v>
                </c:pt>
                <c:pt idx="404">
                  <c:v>0.14599806002099999</c:v>
                </c:pt>
                <c:pt idx="405">
                  <c:v>0.14506580187699999</c:v>
                </c:pt>
                <c:pt idx="406">
                  <c:v>0.154718277599</c:v>
                </c:pt>
                <c:pt idx="407">
                  <c:v>0.141266854813</c:v>
                </c:pt>
                <c:pt idx="408">
                  <c:v>0.132939616728</c:v>
                </c:pt>
                <c:pt idx="409">
                  <c:v>0.15924391506900001</c:v>
                </c:pt>
                <c:pt idx="410">
                  <c:v>0.150464005766</c:v>
                </c:pt>
                <c:pt idx="411">
                  <c:v>0.14507772020699999</c:v>
                </c:pt>
                <c:pt idx="412">
                  <c:v>0.156636975885</c:v>
                </c:pt>
                <c:pt idx="413">
                  <c:v>0.15702833363900001</c:v>
                </c:pt>
                <c:pt idx="414">
                  <c:v>0.13814065611500001</c:v>
                </c:pt>
                <c:pt idx="415">
                  <c:v>0.13627173473500001</c:v>
                </c:pt>
                <c:pt idx="416">
                  <c:v>0.157400450788</c:v>
                </c:pt>
                <c:pt idx="417">
                  <c:v>0.15308068168200001</c:v>
                </c:pt>
                <c:pt idx="418">
                  <c:v>0.15221172022599999</c:v>
                </c:pt>
                <c:pt idx="419">
                  <c:v>0.155005472762</c:v>
                </c:pt>
                <c:pt idx="420">
                  <c:v>0.15867158671500001</c:v>
                </c:pt>
                <c:pt idx="421">
                  <c:v>0.14625954198400001</c:v>
                </c:pt>
                <c:pt idx="422">
                  <c:v>0.126116657908</c:v>
                </c:pt>
                <c:pt idx="423">
                  <c:v>0.15509932673900001</c:v>
                </c:pt>
                <c:pt idx="424">
                  <c:v>0.15998555435100001</c:v>
                </c:pt>
                <c:pt idx="425">
                  <c:v>0.15695488721799999</c:v>
                </c:pt>
                <c:pt idx="426">
                  <c:v>0.161651794978</c:v>
                </c:pt>
                <c:pt idx="427">
                  <c:v>0.16179455947999999</c:v>
                </c:pt>
                <c:pt idx="428">
                  <c:v>0.15308962701699999</c:v>
                </c:pt>
                <c:pt idx="429">
                  <c:v>0.151894563426</c:v>
                </c:pt>
                <c:pt idx="430">
                  <c:v>0.159499358151</c:v>
                </c:pt>
                <c:pt idx="431">
                  <c:v>0.15840551812600001</c:v>
                </c:pt>
                <c:pt idx="432">
                  <c:v>0.155817624663</c:v>
                </c:pt>
                <c:pt idx="433">
                  <c:v>0.157932373071</c:v>
                </c:pt>
                <c:pt idx="434">
                  <c:v>0.16505145369099999</c:v>
                </c:pt>
                <c:pt idx="435">
                  <c:v>0.14575289575200001</c:v>
                </c:pt>
                <c:pt idx="436">
                  <c:v>0.13544940289099999</c:v>
                </c:pt>
                <c:pt idx="437">
                  <c:v>0.160446892699</c:v>
                </c:pt>
                <c:pt idx="438">
                  <c:v>0.153232179547</c:v>
                </c:pt>
                <c:pt idx="439">
                  <c:v>0.16100863422200001</c:v>
                </c:pt>
                <c:pt idx="440">
                  <c:v>0.15413338865199999</c:v>
                </c:pt>
                <c:pt idx="441">
                  <c:v>0.15910845233500001</c:v>
                </c:pt>
                <c:pt idx="442">
                  <c:v>0.14008620689599999</c:v>
                </c:pt>
                <c:pt idx="443">
                  <c:v>0.139833711262</c:v>
                </c:pt>
                <c:pt idx="444">
                  <c:v>0.164997195288</c:v>
                </c:pt>
                <c:pt idx="445">
                  <c:v>0.15817350132399999</c:v>
                </c:pt>
                <c:pt idx="446">
                  <c:v>0.15424523595699999</c:v>
                </c:pt>
                <c:pt idx="447">
                  <c:v>0.15848610289699999</c:v>
                </c:pt>
                <c:pt idx="448">
                  <c:v>0.15621156211500001</c:v>
                </c:pt>
                <c:pt idx="449">
                  <c:v>0.155267578593</c:v>
                </c:pt>
                <c:pt idx="450">
                  <c:v>0.13353917406400001</c:v>
                </c:pt>
                <c:pt idx="451">
                  <c:v>0.15920587954500001</c:v>
                </c:pt>
                <c:pt idx="452">
                  <c:v>0.156409770876</c:v>
                </c:pt>
                <c:pt idx="453">
                  <c:v>0.15262011237199999</c:v>
                </c:pt>
                <c:pt idx="454">
                  <c:v>0.16464828652399999</c:v>
                </c:pt>
                <c:pt idx="455">
                  <c:v>0.15759797011500001</c:v>
                </c:pt>
                <c:pt idx="456">
                  <c:v>0.15276414785699999</c:v>
                </c:pt>
                <c:pt idx="457">
                  <c:v>0.15888324873000001</c:v>
                </c:pt>
                <c:pt idx="458">
                  <c:v>0.16287685232400001</c:v>
                </c:pt>
                <c:pt idx="459">
                  <c:v>0.15753080211199999</c:v>
                </c:pt>
                <c:pt idx="460">
                  <c:v>0.16965127238399999</c:v>
                </c:pt>
                <c:pt idx="461">
                  <c:v>0.154877014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019-4604-A4A6-0592403C34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dateAx>
        <c:axId val="1335740047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Offset val="100"/>
        <c:baseTimeUnit val="days"/>
      </c:date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04140099406309E-2"/>
          <c:y val="7.6853844476408015E-2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7:$A$189</c:f>
              <c:numCache>
                <c:formatCode>m/d/yyyy</c:formatCode>
                <c:ptCount val="163"/>
                <c:pt idx="0">
                  <c:v>44496</c:v>
                </c:pt>
                <c:pt idx="1">
                  <c:v>44497</c:v>
                </c:pt>
                <c:pt idx="2">
                  <c:v>44498</c:v>
                </c:pt>
                <c:pt idx="3">
                  <c:v>44499</c:v>
                </c:pt>
                <c:pt idx="4">
                  <c:v>44500</c:v>
                </c:pt>
                <c:pt idx="5">
                  <c:v>44501</c:v>
                </c:pt>
                <c:pt idx="6">
                  <c:v>44502</c:v>
                </c:pt>
                <c:pt idx="7">
                  <c:v>44503</c:v>
                </c:pt>
                <c:pt idx="8">
                  <c:v>44504</c:v>
                </c:pt>
                <c:pt idx="9">
                  <c:v>44505</c:v>
                </c:pt>
                <c:pt idx="10">
                  <c:v>44506</c:v>
                </c:pt>
                <c:pt idx="11">
                  <c:v>44507</c:v>
                </c:pt>
                <c:pt idx="12">
                  <c:v>44508</c:v>
                </c:pt>
                <c:pt idx="13">
                  <c:v>44509</c:v>
                </c:pt>
                <c:pt idx="14">
                  <c:v>44510</c:v>
                </c:pt>
                <c:pt idx="15">
                  <c:v>44511</c:v>
                </c:pt>
                <c:pt idx="16">
                  <c:v>44512</c:v>
                </c:pt>
                <c:pt idx="17">
                  <c:v>44513</c:v>
                </c:pt>
                <c:pt idx="18">
                  <c:v>44514</c:v>
                </c:pt>
                <c:pt idx="19">
                  <c:v>44515</c:v>
                </c:pt>
                <c:pt idx="20">
                  <c:v>44516</c:v>
                </c:pt>
                <c:pt idx="21">
                  <c:v>44517</c:v>
                </c:pt>
                <c:pt idx="22">
                  <c:v>44518</c:v>
                </c:pt>
                <c:pt idx="23">
                  <c:v>44519</c:v>
                </c:pt>
                <c:pt idx="24">
                  <c:v>44520</c:v>
                </c:pt>
                <c:pt idx="25">
                  <c:v>44521</c:v>
                </c:pt>
                <c:pt idx="26">
                  <c:v>44522</c:v>
                </c:pt>
                <c:pt idx="27">
                  <c:v>44523</c:v>
                </c:pt>
                <c:pt idx="28">
                  <c:v>44524</c:v>
                </c:pt>
                <c:pt idx="29">
                  <c:v>44525</c:v>
                </c:pt>
                <c:pt idx="30">
                  <c:v>44526</c:v>
                </c:pt>
                <c:pt idx="31">
                  <c:v>44527</c:v>
                </c:pt>
                <c:pt idx="32">
                  <c:v>44528</c:v>
                </c:pt>
                <c:pt idx="33">
                  <c:v>44529</c:v>
                </c:pt>
                <c:pt idx="34">
                  <c:v>44530</c:v>
                </c:pt>
                <c:pt idx="35">
                  <c:v>44531</c:v>
                </c:pt>
                <c:pt idx="36">
                  <c:v>44532</c:v>
                </c:pt>
                <c:pt idx="37">
                  <c:v>44533</c:v>
                </c:pt>
                <c:pt idx="38">
                  <c:v>44534</c:v>
                </c:pt>
                <c:pt idx="39">
                  <c:v>44535</c:v>
                </c:pt>
                <c:pt idx="40">
                  <c:v>44536</c:v>
                </c:pt>
                <c:pt idx="41">
                  <c:v>44537</c:v>
                </c:pt>
                <c:pt idx="42">
                  <c:v>44538</c:v>
                </c:pt>
                <c:pt idx="43">
                  <c:v>44539</c:v>
                </c:pt>
                <c:pt idx="44">
                  <c:v>44540</c:v>
                </c:pt>
                <c:pt idx="45">
                  <c:v>44541</c:v>
                </c:pt>
                <c:pt idx="46">
                  <c:v>44542</c:v>
                </c:pt>
                <c:pt idx="47">
                  <c:v>44543</c:v>
                </c:pt>
                <c:pt idx="48">
                  <c:v>44544</c:v>
                </c:pt>
                <c:pt idx="49">
                  <c:v>44545</c:v>
                </c:pt>
                <c:pt idx="50">
                  <c:v>44546</c:v>
                </c:pt>
                <c:pt idx="51">
                  <c:v>44547</c:v>
                </c:pt>
                <c:pt idx="52">
                  <c:v>44548</c:v>
                </c:pt>
                <c:pt idx="53">
                  <c:v>44549</c:v>
                </c:pt>
                <c:pt idx="54">
                  <c:v>44550</c:v>
                </c:pt>
                <c:pt idx="55">
                  <c:v>44551</c:v>
                </c:pt>
                <c:pt idx="56">
                  <c:v>44552</c:v>
                </c:pt>
                <c:pt idx="57">
                  <c:v>44553</c:v>
                </c:pt>
                <c:pt idx="58">
                  <c:v>44554</c:v>
                </c:pt>
                <c:pt idx="59">
                  <c:v>44555</c:v>
                </c:pt>
                <c:pt idx="60">
                  <c:v>44556</c:v>
                </c:pt>
                <c:pt idx="61">
                  <c:v>44557</c:v>
                </c:pt>
                <c:pt idx="62">
                  <c:v>44558</c:v>
                </c:pt>
                <c:pt idx="63">
                  <c:v>44559</c:v>
                </c:pt>
                <c:pt idx="64">
                  <c:v>44560</c:v>
                </c:pt>
                <c:pt idx="65">
                  <c:v>44561</c:v>
                </c:pt>
                <c:pt idx="66">
                  <c:v>44562</c:v>
                </c:pt>
                <c:pt idx="67">
                  <c:v>44563</c:v>
                </c:pt>
                <c:pt idx="68">
                  <c:v>44564</c:v>
                </c:pt>
                <c:pt idx="69">
                  <c:v>44565</c:v>
                </c:pt>
                <c:pt idx="70">
                  <c:v>44566</c:v>
                </c:pt>
                <c:pt idx="71">
                  <c:v>44567</c:v>
                </c:pt>
                <c:pt idx="72">
                  <c:v>44568</c:v>
                </c:pt>
                <c:pt idx="73">
                  <c:v>44569</c:v>
                </c:pt>
                <c:pt idx="74">
                  <c:v>44570</c:v>
                </c:pt>
                <c:pt idx="75">
                  <c:v>44571</c:v>
                </c:pt>
                <c:pt idx="76">
                  <c:v>44572</c:v>
                </c:pt>
                <c:pt idx="77">
                  <c:v>44573</c:v>
                </c:pt>
                <c:pt idx="78">
                  <c:v>44574</c:v>
                </c:pt>
                <c:pt idx="79">
                  <c:v>44575</c:v>
                </c:pt>
                <c:pt idx="80">
                  <c:v>44576</c:v>
                </c:pt>
                <c:pt idx="81">
                  <c:v>44577</c:v>
                </c:pt>
                <c:pt idx="82">
                  <c:v>44578</c:v>
                </c:pt>
                <c:pt idx="83">
                  <c:v>44579</c:v>
                </c:pt>
                <c:pt idx="84">
                  <c:v>44580</c:v>
                </c:pt>
                <c:pt idx="85">
                  <c:v>44581</c:v>
                </c:pt>
                <c:pt idx="86">
                  <c:v>44582</c:v>
                </c:pt>
                <c:pt idx="87">
                  <c:v>44583</c:v>
                </c:pt>
                <c:pt idx="88">
                  <c:v>44584</c:v>
                </c:pt>
                <c:pt idx="89">
                  <c:v>44585</c:v>
                </c:pt>
                <c:pt idx="90">
                  <c:v>44586</c:v>
                </c:pt>
                <c:pt idx="91">
                  <c:v>44587</c:v>
                </c:pt>
                <c:pt idx="92">
                  <c:v>44588</c:v>
                </c:pt>
                <c:pt idx="93">
                  <c:v>44589</c:v>
                </c:pt>
                <c:pt idx="94">
                  <c:v>44590</c:v>
                </c:pt>
                <c:pt idx="95">
                  <c:v>44591</c:v>
                </c:pt>
                <c:pt idx="96">
                  <c:v>44592</c:v>
                </c:pt>
                <c:pt idx="97">
                  <c:v>44593</c:v>
                </c:pt>
                <c:pt idx="98">
                  <c:v>44594</c:v>
                </c:pt>
                <c:pt idx="99">
                  <c:v>44595</c:v>
                </c:pt>
                <c:pt idx="100">
                  <c:v>44596</c:v>
                </c:pt>
                <c:pt idx="101">
                  <c:v>44597</c:v>
                </c:pt>
                <c:pt idx="102">
                  <c:v>44598</c:v>
                </c:pt>
                <c:pt idx="103">
                  <c:v>44599</c:v>
                </c:pt>
                <c:pt idx="104">
                  <c:v>44600</c:v>
                </c:pt>
                <c:pt idx="105">
                  <c:v>44601</c:v>
                </c:pt>
                <c:pt idx="106">
                  <c:v>44602</c:v>
                </c:pt>
                <c:pt idx="107">
                  <c:v>44603</c:v>
                </c:pt>
                <c:pt idx="108">
                  <c:v>44604</c:v>
                </c:pt>
                <c:pt idx="109">
                  <c:v>44605</c:v>
                </c:pt>
                <c:pt idx="110">
                  <c:v>44606</c:v>
                </c:pt>
                <c:pt idx="111">
                  <c:v>44607</c:v>
                </c:pt>
                <c:pt idx="112">
                  <c:v>44608</c:v>
                </c:pt>
                <c:pt idx="113">
                  <c:v>44609</c:v>
                </c:pt>
                <c:pt idx="114">
                  <c:v>44610</c:v>
                </c:pt>
                <c:pt idx="115">
                  <c:v>44611</c:v>
                </c:pt>
                <c:pt idx="116">
                  <c:v>44612</c:v>
                </c:pt>
                <c:pt idx="117">
                  <c:v>44613</c:v>
                </c:pt>
                <c:pt idx="118">
                  <c:v>44614</c:v>
                </c:pt>
                <c:pt idx="119">
                  <c:v>44615</c:v>
                </c:pt>
                <c:pt idx="120">
                  <c:v>44616</c:v>
                </c:pt>
                <c:pt idx="121">
                  <c:v>44617</c:v>
                </c:pt>
                <c:pt idx="122">
                  <c:v>44618</c:v>
                </c:pt>
                <c:pt idx="123">
                  <c:v>44619</c:v>
                </c:pt>
                <c:pt idx="124">
                  <c:v>44620</c:v>
                </c:pt>
                <c:pt idx="125">
                  <c:v>44621</c:v>
                </c:pt>
                <c:pt idx="126">
                  <c:v>44622</c:v>
                </c:pt>
                <c:pt idx="127">
                  <c:v>44623</c:v>
                </c:pt>
                <c:pt idx="128">
                  <c:v>44624</c:v>
                </c:pt>
                <c:pt idx="129">
                  <c:v>44625</c:v>
                </c:pt>
                <c:pt idx="130">
                  <c:v>44626</c:v>
                </c:pt>
                <c:pt idx="131">
                  <c:v>44627</c:v>
                </c:pt>
                <c:pt idx="132">
                  <c:v>44628</c:v>
                </c:pt>
                <c:pt idx="133">
                  <c:v>44629</c:v>
                </c:pt>
                <c:pt idx="134">
                  <c:v>44630</c:v>
                </c:pt>
                <c:pt idx="135">
                  <c:v>44631</c:v>
                </c:pt>
                <c:pt idx="136">
                  <c:v>44632</c:v>
                </c:pt>
                <c:pt idx="137">
                  <c:v>44633</c:v>
                </c:pt>
                <c:pt idx="138">
                  <c:v>44634</c:v>
                </c:pt>
                <c:pt idx="139">
                  <c:v>44635</c:v>
                </c:pt>
                <c:pt idx="140">
                  <c:v>44636</c:v>
                </c:pt>
                <c:pt idx="141">
                  <c:v>44637</c:v>
                </c:pt>
                <c:pt idx="142">
                  <c:v>44638</c:v>
                </c:pt>
                <c:pt idx="143">
                  <c:v>44639</c:v>
                </c:pt>
                <c:pt idx="144">
                  <c:v>44640</c:v>
                </c:pt>
                <c:pt idx="145">
                  <c:v>44641</c:v>
                </c:pt>
                <c:pt idx="146">
                  <c:v>44642</c:v>
                </c:pt>
                <c:pt idx="147">
                  <c:v>44643</c:v>
                </c:pt>
                <c:pt idx="148">
                  <c:v>44644</c:v>
                </c:pt>
                <c:pt idx="149">
                  <c:v>44645</c:v>
                </c:pt>
                <c:pt idx="150">
                  <c:v>44646</c:v>
                </c:pt>
                <c:pt idx="151">
                  <c:v>44647</c:v>
                </c:pt>
                <c:pt idx="152">
                  <c:v>44648</c:v>
                </c:pt>
                <c:pt idx="153">
                  <c:v>44649</c:v>
                </c:pt>
                <c:pt idx="154">
                  <c:v>44650</c:v>
                </c:pt>
                <c:pt idx="155">
                  <c:v>44651</c:v>
                </c:pt>
                <c:pt idx="156">
                  <c:v>44652</c:v>
                </c:pt>
                <c:pt idx="157">
                  <c:v>44653</c:v>
                </c:pt>
                <c:pt idx="158">
                  <c:v>44654</c:v>
                </c:pt>
                <c:pt idx="159">
                  <c:v>44655</c:v>
                </c:pt>
                <c:pt idx="160">
                  <c:v>44656</c:v>
                </c:pt>
                <c:pt idx="161">
                  <c:v>44657</c:v>
                </c:pt>
                <c:pt idx="162">
                  <c:v>44658</c:v>
                </c:pt>
              </c:numCache>
            </c:numRef>
          </c:cat>
          <c:val>
            <c:numRef>
              <c:f>Sheet1!$B$27:$B$189</c:f>
              <c:numCache>
                <c:formatCode>General</c:formatCode>
                <c:ptCount val="163"/>
                <c:pt idx="0">
                  <c:v>64282</c:v>
                </c:pt>
                <c:pt idx="1">
                  <c:v>42511</c:v>
                </c:pt>
                <c:pt idx="2">
                  <c:v>44973</c:v>
                </c:pt>
                <c:pt idx="3">
                  <c:v>38054</c:v>
                </c:pt>
                <c:pt idx="4">
                  <c:v>24694</c:v>
                </c:pt>
                <c:pt idx="5">
                  <c:v>64239</c:v>
                </c:pt>
                <c:pt idx="6">
                  <c:v>60184</c:v>
                </c:pt>
                <c:pt idx="7">
                  <c:v>42853</c:v>
                </c:pt>
                <c:pt idx="8">
                  <c:v>43706</c:v>
                </c:pt>
                <c:pt idx="9">
                  <c:v>50415</c:v>
                </c:pt>
                <c:pt idx="10">
                  <c:v>35115</c:v>
                </c:pt>
                <c:pt idx="11">
                  <c:v>18297</c:v>
                </c:pt>
                <c:pt idx="12">
                  <c:v>49859</c:v>
                </c:pt>
                <c:pt idx="13">
                  <c:v>69304</c:v>
                </c:pt>
                <c:pt idx="14">
                  <c:v>64168</c:v>
                </c:pt>
                <c:pt idx="15">
                  <c:v>64245</c:v>
                </c:pt>
                <c:pt idx="16">
                  <c:v>73135</c:v>
                </c:pt>
                <c:pt idx="17">
                  <c:v>46029</c:v>
                </c:pt>
                <c:pt idx="18">
                  <c:v>28384</c:v>
                </c:pt>
                <c:pt idx="19">
                  <c:v>66877</c:v>
                </c:pt>
                <c:pt idx="20">
                  <c:v>95651</c:v>
                </c:pt>
                <c:pt idx="21">
                  <c:v>61907</c:v>
                </c:pt>
                <c:pt idx="22">
                  <c:v>64409</c:v>
                </c:pt>
                <c:pt idx="23">
                  <c:v>91671</c:v>
                </c:pt>
                <c:pt idx="24">
                  <c:v>65840</c:v>
                </c:pt>
                <c:pt idx="25">
                  <c:v>36120</c:v>
                </c:pt>
                <c:pt idx="26">
                  <c:v>78162</c:v>
                </c:pt>
                <c:pt idx="27">
                  <c:v>104785</c:v>
                </c:pt>
                <c:pt idx="28">
                  <c:v>101490</c:v>
                </c:pt>
                <c:pt idx="29">
                  <c:v>101072</c:v>
                </c:pt>
                <c:pt idx="30">
                  <c:v>99961</c:v>
                </c:pt>
                <c:pt idx="31">
                  <c:v>74450</c:v>
                </c:pt>
                <c:pt idx="32">
                  <c:v>49898</c:v>
                </c:pt>
                <c:pt idx="33">
                  <c:v>87161</c:v>
                </c:pt>
                <c:pt idx="34">
                  <c:v>114113</c:v>
                </c:pt>
                <c:pt idx="35">
                  <c:v>100645</c:v>
                </c:pt>
                <c:pt idx="36">
                  <c:v>101260</c:v>
                </c:pt>
                <c:pt idx="37">
                  <c:v>99925</c:v>
                </c:pt>
                <c:pt idx="38">
                  <c:v>71877</c:v>
                </c:pt>
                <c:pt idx="39">
                  <c:v>39282</c:v>
                </c:pt>
                <c:pt idx="40">
                  <c:v>87267</c:v>
                </c:pt>
                <c:pt idx="41">
                  <c:v>104260</c:v>
                </c:pt>
                <c:pt idx="42">
                  <c:v>88811</c:v>
                </c:pt>
                <c:pt idx="43">
                  <c:v>87607</c:v>
                </c:pt>
                <c:pt idx="44">
                  <c:v>87223</c:v>
                </c:pt>
                <c:pt idx="45">
                  <c:v>62737</c:v>
                </c:pt>
                <c:pt idx="46">
                  <c:v>28386</c:v>
                </c:pt>
                <c:pt idx="47">
                  <c:v>82953</c:v>
                </c:pt>
                <c:pt idx="48">
                  <c:v>96783</c:v>
                </c:pt>
                <c:pt idx="49">
                  <c:v>75485</c:v>
                </c:pt>
                <c:pt idx="50">
                  <c:v>78488</c:v>
                </c:pt>
                <c:pt idx="51">
                  <c:v>76928</c:v>
                </c:pt>
                <c:pt idx="52">
                  <c:v>49782</c:v>
                </c:pt>
                <c:pt idx="53">
                  <c:v>29725</c:v>
                </c:pt>
                <c:pt idx="54">
                  <c:v>73392</c:v>
                </c:pt>
                <c:pt idx="55">
                  <c:v>82562</c:v>
                </c:pt>
                <c:pt idx="56">
                  <c:v>78756</c:v>
                </c:pt>
                <c:pt idx="57">
                  <c:v>89370</c:v>
                </c:pt>
                <c:pt idx="58">
                  <c:v>20767</c:v>
                </c:pt>
                <c:pt idx="59">
                  <c:v>13618</c:v>
                </c:pt>
                <c:pt idx="60">
                  <c:v>21061</c:v>
                </c:pt>
                <c:pt idx="61">
                  <c:v>55845</c:v>
                </c:pt>
                <c:pt idx="62">
                  <c:v>59430</c:v>
                </c:pt>
                <c:pt idx="63">
                  <c:v>44053</c:v>
                </c:pt>
                <c:pt idx="64">
                  <c:v>39581</c:v>
                </c:pt>
                <c:pt idx="65">
                  <c:v>35510</c:v>
                </c:pt>
                <c:pt idx="66">
                  <c:v>8714</c:v>
                </c:pt>
                <c:pt idx="67">
                  <c:v>19596</c:v>
                </c:pt>
                <c:pt idx="68">
                  <c:v>73448</c:v>
                </c:pt>
                <c:pt idx="69">
                  <c:v>71542</c:v>
                </c:pt>
                <c:pt idx="70">
                  <c:v>53589</c:v>
                </c:pt>
                <c:pt idx="71">
                  <c:v>57266</c:v>
                </c:pt>
                <c:pt idx="72">
                  <c:v>68328</c:v>
                </c:pt>
                <c:pt idx="73">
                  <c:v>40371</c:v>
                </c:pt>
                <c:pt idx="74">
                  <c:v>23860</c:v>
                </c:pt>
                <c:pt idx="75">
                  <c:v>71658</c:v>
                </c:pt>
                <c:pt idx="76">
                  <c:v>78065</c:v>
                </c:pt>
                <c:pt idx="77">
                  <c:v>65374</c:v>
                </c:pt>
                <c:pt idx="78">
                  <c:v>70077</c:v>
                </c:pt>
                <c:pt idx="79">
                  <c:v>81692</c:v>
                </c:pt>
                <c:pt idx="80">
                  <c:v>61315</c:v>
                </c:pt>
                <c:pt idx="81">
                  <c:v>34394</c:v>
                </c:pt>
                <c:pt idx="82">
                  <c:v>92176</c:v>
                </c:pt>
                <c:pt idx="83">
                  <c:v>109710</c:v>
                </c:pt>
                <c:pt idx="84">
                  <c:v>102637</c:v>
                </c:pt>
                <c:pt idx="85">
                  <c:v>106135</c:v>
                </c:pt>
                <c:pt idx="86">
                  <c:v>123801</c:v>
                </c:pt>
                <c:pt idx="87">
                  <c:v>86968</c:v>
                </c:pt>
                <c:pt idx="88">
                  <c:v>52189</c:v>
                </c:pt>
                <c:pt idx="89">
                  <c:v>120013</c:v>
                </c:pt>
                <c:pt idx="90">
                  <c:v>147217</c:v>
                </c:pt>
                <c:pt idx="91">
                  <c:v>144984</c:v>
                </c:pt>
                <c:pt idx="92">
                  <c:v>138328</c:v>
                </c:pt>
                <c:pt idx="93">
                  <c:v>156559</c:v>
                </c:pt>
                <c:pt idx="94">
                  <c:v>103845</c:v>
                </c:pt>
                <c:pt idx="95">
                  <c:v>62614</c:v>
                </c:pt>
                <c:pt idx="96">
                  <c:v>118728</c:v>
                </c:pt>
                <c:pt idx="97">
                  <c:v>156394</c:v>
                </c:pt>
                <c:pt idx="98">
                  <c:v>135613</c:v>
                </c:pt>
                <c:pt idx="99">
                  <c:v>133514</c:v>
                </c:pt>
                <c:pt idx="100">
                  <c:v>120918</c:v>
                </c:pt>
                <c:pt idx="101">
                  <c:v>72800</c:v>
                </c:pt>
                <c:pt idx="102">
                  <c:v>39581</c:v>
                </c:pt>
                <c:pt idx="103">
                  <c:v>101807</c:v>
                </c:pt>
                <c:pt idx="104">
                  <c:v>113203</c:v>
                </c:pt>
                <c:pt idx="105">
                  <c:v>88125</c:v>
                </c:pt>
                <c:pt idx="106">
                  <c:v>84768</c:v>
                </c:pt>
                <c:pt idx="107">
                  <c:v>81916</c:v>
                </c:pt>
                <c:pt idx="108">
                  <c:v>45860</c:v>
                </c:pt>
                <c:pt idx="109">
                  <c:v>27114</c:v>
                </c:pt>
                <c:pt idx="110">
                  <c:v>76458</c:v>
                </c:pt>
                <c:pt idx="111">
                  <c:v>83854</c:v>
                </c:pt>
                <c:pt idx="112">
                  <c:v>59865</c:v>
                </c:pt>
                <c:pt idx="113">
                  <c:v>58554</c:v>
                </c:pt>
                <c:pt idx="114">
                  <c:v>55845</c:v>
                </c:pt>
                <c:pt idx="115">
                  <c:v>33705</c:v>
                </c:pt>
                <c:pt idx="116">
                  <c:v>18769</c:v>
                </c:pt>
                <c:pt idx="117">
                  <c:v>46309</c:v>
                </c:pt>
                <c:pt idx="118">
                  <c:v>44568</c:v>
                </c:pt>
                <c:pt idx="119">
                  <c:v>37760</c:v>
                </c:pt>
                <c:pt idx="120">
                  <c:v>38010</c:v>
                </c:pt>
                <c:pt idx="121">
                  <c:v>37009</c:v>
                </c:pt>
                <c:pt idx="122">
                  <c:v>22147</c:v>
                </c:pt>
                <c:pt idx="123">
                  <c:v>14444</c:v>
                </c:pt>
                <c:pt idx="124">
                  <c:v>39048</c:v>
                </c:pt>
                <c:pt idx="125">
                  <c:v>34367</c:v>
                </c:pt>
                <c:pt idx="126">
                  <c:v>27445</c:v>
                </c:pt>
                <c:pt idx="127">
                  <c:v>28033</c:v>
                </c:pt>
                <c:pt idx="128">
                  <c:v>29700</c:v>
                </c:pt>
                <c:pt idx="129">
                  <c:v>17557</c:v>
                </c:pt>
                <c:pt idx="130">
                  <c:v>10216</c:v>
                </c:pt>
                <c:pt idx="131">
                  <c:v>30272</c:v>
                </c:pt>
                <c:pt idx="132">
                  <c:v>29103</c:v>
                </c:pt>
                <c:pt idx="133">
                  <c:v>26809</c:v>
                </c:pt>
                <c:pt idx="134">
                  <c:v>26071</c:v>
                </c:pt>
                <c:pt idx="135">
                  <c:v>26978</c:v>
                </c:pt>
                <c:pt idx="136">
                  <c:v>16064</c:v>
                </c:pt>
                <c:pt idx="137">
                  <c:v>9107</c:v>
                </c:pt>
                <c:pt idx="138">
                  <c:v>30733</c:v>
                </c:pt>
                <c:pt idx="139">
                  <c:v>29228</c:v>
                </c:pt>
                <c:pt idx="140">
                  <c:v>25705</c:v>
                </c:pt>
                <c:pt idx="141">
                  <c:v>24977</c:v>
                </c:pt>
                <c:pt idx="142">
                  <c:v>26283</c:v>
                </c:pt>
                <c:pt idx="143">
                  <c:v>13996</c:v>
                </c:pt>
                <c:pt idx="144">
                  <c:v>8978</c:v>
                </c:pt>
                <c:pt idx="145">
                  <c:v>29297</c:v>
                </c:pt>
                <c:pt idx="146">
                  <c:v>28296</c:v>
                </c:pt>
                <c:pt idx="147">
                  <c:v>25581</c:v>
                </c:pt>
                <c:pt idx="148">
                  <c:v>24523</c:v>
                </c:pt>
                <c:pt idx="149">
                  <c:v>24240</c:v>
                </c:pt>
                <c:pt idx="150">
                  <c:v>12216</c:v>
                </c:pt>
                <c:pt idx="151">
                  <c:v>8206</c:v>
                </c:pt>
                <c:pt idx="152">
                  <c:v>26733</c:v>
                </c:pt>
                <c:pt idx="153">
                  <c:v>27689</c:v>
                </c:pt>
                <c:pt idx="154">
                  <c:v>24733</c:v>
                </c:pt>
                <c:pt idx="155">
                  <c:v>23533</c:v>
                </c:pt>
                <c:pt idx="156">
                  <c:v>20922</c:v>
                </c:pt>
                <c:pt idx="157">
                  <c:v>10714</c:v>
                </c:pt>
                <c:pt idx="158">
                  <c:v>6422</c:v>
                </c:pt>
                <c:pt idx="159">
                  <c:v>22856</c:v>
                </c:pt>
                <c:pt idx="160">
                  <c:v>22360</c:v>
                </c:pt>
                <c:pt idx="161">
                  <c:v>19655</c:v>
                </c:pt>
                <c:pt idx="162">
                  <c:v>17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0C-437F-AF06-6849CD78A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107:$A$555</c:f>
              <c:numCache>
                <c:formatCode>m/d/yyyy</c:formatCode>
                <c:ptCount val="449"/>
                <c:pt idx="0">
                  <c:v>44210</c:v>
                </c:pt>
                <c:pt idx="1">
                  <c:v>44211</c:v>
                </c:pt>
                <c:pt idx="2">
                  <c:v>44212</c:v>
                </c:pt>
                <c:pt idx="3">
                  <c:v>44213</c:v>
                </c:pt>
                <c:pt idx="4">
                  <c:v>44214</c:v>
                </c:pt>
                <c:pt idx="5">
                  <c:v>44215</c:v>
                </c:pt>
                <c:pt idx="6">
                  <c:v>44216</c:v>
                </c:pt>
                <c:pt idx="7">
                  <c:v>44217</c:v>
                </c:pt>
                <c:pt idx="8">
                  <c:v>44218</c:v>
                </c:pt>
                <c:pt idx="9">
                  <c:v>44219</c:v>
                </c:pt>
                <c:pt idx="10">
                  <c:v>44220</c:v>
                </c:pt>
                <c:pt idx="11">
                  <c:v>44221</c:v>
                </c:pt>
                <c:pt idx="12">
                  <c:v>44222</c:v>
                </c:pt>
                <c:pt idx="13">
                  <c:v>44223</c:v>
                </c:pt>
                <c:pt idx="14">
                  <c:v>44224</c:v>
                </c:pt>
                <c:pt idx="15">
                  <c:v>44225</c:v>
                </c:pt>
                <c:pt idx="16">
                  <c:v>44226</c:v>
                </c:pt>
                <c:pt idx="17">
                  <c:v>44227</c:v>
                </c:pt>
                <c:pt idx="18">
                  <c:v>44228</c:v>
                </c:pt>
                <c:pt idx="19">
                  <c:v>44229</c:v>
                </c:pt>
                <c:pt idx="20">
                  <c:v>44230</c:v>
                </c:pt>
                <c:pt idx="21">
                  <c:v>44231</c:v>
                </c:pt>
                <c:pt idx="22">
                  <c:v>44232</c:v>
                </c:pt>
                <c:pt idx="23">
                  <c:v>44233</c:v>
                </c:pt>
                <c:pt idx="24">
                  <c:v>44234</c:v>
                </c:pt>
                <c:pt idx="25">
                  <c:v>44235</c:v>
                </c:pt>
                <c:pt idx="26">
                  <c:v>44236</c:v>
                </c:pt>
                <c:pt idx="27">
                  <c:v>44237</c:v>
                </c:pt>
                <c:pt idx="28">
                  <c:v>44238</c:v>
                </c:pt>
                <c:pt idx="29">
                  <c:v>44239</c:v>
                </c:pt>
                <c:pt idx="30">
                  <c:v>44240</c:v>
                </c:pt>
                <c:pt idx="31">
                  <c:v>44241</c:v>
                </c:pt>
                <c:pt idx="32">
                  <c:v>44242</c:v>
                </c:pt>
                <c:pt idx="33">
                  <c:v>44243</c:v>
                </c:pt>
                <c:pt idx="34">
                  <c:v>44244</c:v>
                </c:pt>
                <c:pt idx="35">
                  <c:v>44245</c:v>
                </c:pt>
                <c:pt idx="36">
                  <c:v>44246</c:v>
                </c:pt>
                <c:pt idx="37">
                  <c:v>44247</c:v>
                </c:pt>
                <c:pt idx="38">
                  <c:v>44248</c:v>
                </c:pt>
                <c:pt idx="39">
                  <c:v>44249</c:v>
                </c:pt>
                <c:pt idx="40">
                  <c:v>44250</c:v>
                </c:pt>
                <c:pt idx="41">
                  <c:v>44251</c:v>
                </c:pt>
                <c:pt idx="42">
                  <c:v>44252</c:v>
                </c:pt>
                <c:pt idx="43">
                  <c:v>44253</c:v>
                </c:pt>
                <c:pt idx="44">
                  <c:v>44254</c:v>
                </c:pt>
                <c:pt idx="45">
                  <c:v>44255</c:v>
                </c:pt>
                <c:pt idx="46">
                  <c:v>44256</c:v>
                </c:pt>
                <c:pt idx="47">
                  <c:v>44257</c:v>
                </c:pt>
                <c:pt idx="48">
                  <c:v>44258</c:v>
                </c:pt>
                <c:pt idx="49">
                  <c:v>44259</c:v>
                </c:pt>
                <c:pt idx="50">
                  <c:v>44260</c:v>
                </c:pt>
                <c:pt idx="51">
                  <c:v>44261</c:v>
                </c:pt>
                <c:pt idx="52">
                  <c:v>44262</c:v>
                </c:pt>
                <c:pt idx="53">
                  <c:v>44263</c:v>
                </c:pt>
                <c:pt idx="54">
                  <c:v>44264</c:v>
                </c:pt>
                <c:pt idx="55">
                  <c:v>44265</c:v>
                </c:pt>
                <c:pt idx="56">
                  <c:v>44266</c:v>
                </c:pt>
                <c:pt idx="57">
                  <c:v>44267</c:v>
                </c:pt>
                <c:pt idx="58">
                  <c:v>44268</c:v>
                </c:pt>
                <c:pt idx="59">
                  <c:v>44269</c:v>
                </c:pt>
                <c:pt idx="60">
                  <c:v>44270</c:v>
                </c:pt>
                <c:pt idx="61">
                  <c:v>44271</c:v>
                </c:pt>
                <c:pt idx="62">
                  <c:v>44272</c:v>
                </c:pt>
                <c:pt idx="63">
                  <c:v>44273</c:v>
                </c:pt>
                <c:pt idx="64">
                  <c:v>44274</c:v>
                </c:pt>
                <c:pt idx="65">
                  <c:v>44275</c:v>
                </c:pt>
                <c:pt idx="66">
                  <c:v>44276</c:v>
                </c:pt>
                <c:pt idx="67">
                  <c:v>44277</c:v>
                </c:pt>
                <c:pt idx="68">
                  <c:v>44278</c:v>
                </c:pt>
                <c:pt idx="69">
                  <c:v>44279</c:v>
                </c:pt>
                <c:pt idx="70">
                  <c:v>44280</c:v>
                </c:pt>
                <c:pt idx="71">
                  <c:v>44281</c:v>
                </c:pt>
                <c:pt idx="72">
                  <c:v>44282</c:v>
                </c:pt>
                <c:pt idx="73">
                  <c:v>44283</c:v>
                </c:pt>
                <c:pt idx="74">
                  <c:v>44284</c:v>
                </c:pt>
                <c:pt idx="75">
                  <c:v>44285</c:v>
                </c:pt>
                <c:pt idx="76">
                  <c:v>44286</c:v>
                </c:pt>
                <c:pt idx="77">
                  <c:v>44287</c:v>
                </c:pt>
                <c:pt idx="78">
                  <c:v>44288</c:v>
                </c:pt>
                <c:pt idx="79">
                  <c:v>44289</c:v>
                </c:pt>
                <c:pt idx="80">
                  <c:v>44290</c:v>
                </c:pt>
                <c:pt idx="81">
                  <c:v>44291</c:v>
                </c:pt>
                <c:pt idx="82">
                  <c:v>44292</c:v>
                </c:pt>
                <c:pt idx="83">
                  <c:v>44293</c:v>
                </c:pt>
                <c:pt idx="84">
                  <c:v>44294</c:v>
                </c:pt>
                <c:pt idx="85">
                  <c:v>44295</c:v>
                </c:pt>
                <c:pt idx="86">
                  <c:v>44296</c:v>
                </c:pt>
                <c:pt idx="87">
                  <c:v>44297</c:v>
                </c:pt>
                <c:pt idx="88">
                  <c:v>44298</c:v>
                </c:pt>
                <c:pt idx="89">
                  <c:v>44299</c:v>
                </c:pt>
                <c:pt idx="90">
                  <c:v>44300</c:v>
                </c:pt>
                <c:pt idx="91">
                  <c:v>44301</c:v>
                </c:pt>
                <c:pt idx="92">
                  <c:v>44302</c:v>
                </c:pt>
                <c:pt idx="93">
                  <c:v>44303</c:v>
                </c:pt>
                <c:pt idx="94">
                  <c:v>44304</c:v>
                </c:pt>
                <c:pt idx="95">
                  <c:v>44305</c:v>
                </c:pt>
                <c:pt idx="96">
                  <c:v>44306</c:v>
                </c:pt>
                <c:pt idx="97">
                  <c:v>44307</c:v>
                </c:pt>
                <c:pt idx="98">
                  <c:v>44308</c:v>
                </c:pt>
                <c:pt idx="99">
                  <c:v>44309</c:v>
                </c:pt>
                <c:pt idx="100">
                  <c:v>44310</c:v>
                </c:pt>
                <c:pt idx="101">
                  <c:v>44311</c:v>
                </c:pt>
                <c:pt idx="102">
                  <c:v>44312</c:v>
                </c:pt>
                <c:pt idx="103">
                  <c:v>44313</c:v>
                </c:pt>
                <c:pt idx="104">
                  <c:v>44314</c:v>
                </c:pt>
                <c:pt idx="105">
                  <c:v>44315</c:v>
                </c:pt>
                <c:pt idx="106">
                  <c:v>44316</c:v>
                </c:pt>
                <c:pt idx="107">
                  <c:v>44317</c:v>
                </c:pt>
                <c:pt idx="108">
                  <c:v>44318</c:v>
                </c:pt>
                <c:pt idx="109">
                  <c:v>44319</c:v>
                </c:pt>
                <c:pt idx="110">
                  <c:v>44320</c:v>
                </c:pt>
                <c:pt idx="111">
                  <c:v>44321</c:v>
                </c:pt>
                <c:pt idx="112">
                  <c:v>44322</c:v>
                </c:pt>
                <c:pt idx="113">
                  <c:v>44323</c:v>
                </c:pt>
                <c:pt idx="114">
                  <c:v>44324</c:v>
                </c:pt>
                <c:pt idx="115">
                  <c:v>44325</c:v>
                </c:pt>
                <c:pt idx="116">
                  <c:v>44326</c:v>
                </c:pt>
                <c:pt idx="117">
                  <c:v>44327</c:v>
                </c:pt>
                <c:pt idx="118">
                  <c:v>44328</c:v>
                </c:pt>
                <c:pt idx="119">
                  <c:v>44329</c:v>
                </c:pt>
                <c:pt idx="120">
                  <c:v>44330</c:v>
                </c:pt>
                <c:pt idx="121">
                  <c:v>44331</c:v>
                </c:pt>
                <c:pt idx="122">
                  <c:v>44332</c:v>
                </c:pt>
                <c:pt idx="123">
                  <c:v>44333</c:v>
                </c:pt>
                <c:pt idx="124">
                  <c:v>44334</c:v>
                </c:pt>
                <c:pt idx="125">
                  <c:v>44335</c:v>
                </c:pt>
                <c:pt idx="126">
                  <c:v>44336</c:v>
                </c:pt>
                <c:pt idx="127">
                  <c:v>44337</c:v>
                </c:pt>
                <c:pt idx="128">
                  <c:v>44338</c:v>
                </c:pt>
                <c:pt idx="129">
                  <c:v>44339</c:v>
                </c:pt>
                <c:pt idx="130">
                  <c:v>44340</c:v>
                </c:pt>
                <c:pt idx="131">
                  <c:v>44341</c:v>
                </c:pt>
                <c:pt idx="132">
                  <c:v>44342</c:v>
                </c:pt>
                <c:pt idx="133">
                  <c:v>44343</c:v>
                </c:pt>
                <c:pt idx="134">
                  <c:v>44344</c:v>
                </c:pt>
                <c:pt idx="135">
                  <c:v>44345</c:v>
                </c:pt>
                <c:pt idx="136">
                  <c:v>44346</c:v>
                </c:pt>
                <c:pt idx="137">
                  <c:v>44347</c:v>
                </c:pt>
                <c:pt idx="138">
                  <c:v>44348</c:v>
                </c:pt>
                <c:pt idx="139">
                  <c:v>44349</c:v>
                </c:pt>
                <c:pt idx="140">
                  <c:v>44350</c:v>
                </c:pt>
                <c:pt idx="141">
                  <c:v>44351</c:v>
                </c:pt>
                <c:pt idx="142">
                  <c:v>44352</c:v>
                </c:pt>
                <c:pt idx="143">
                  <c:v>44353</c:v>
                </c:pt>
                <c:pt idx="144">
                  <c:v>44354</c:v>
                </c:pt>
                <c:pt idx="145">
                  <c:v>44355</c:v>
                </c:pt>
                <c:pt idx="146">
                  <c:v>44356</c:v>
                </c:pt>
                <c:pt idx="147">
                  <c:v>44357</c:v>
                </c:pt>
                <c:pt idx="148">
                  <c:v>44358</c:v>
                </c:pt>
                <c:pt idx="149">
                  <c:v>44359</c:v>
                </c:pt>
                <c:pt idx="150">
                  <c:v>44360</c:v>
                </c:pt>
                <c:pt idx="151">
                  <c:v>44361</c:v>
                </c:pt>
                <c:pt idx="152">
                  <c:v>44362</c:v>
                </c:pt>
                <c:pt idx="153">
                  <c:v>44363</c:v>
                </c:pt>
                <c:pt idx="154">
                  <c:v>44364</c:v>
                </c:pt>
                <c:pt idx="155">
                  <c:v>44365</c:v>
                </c:pt>
                <c:pt idx="156">
                  <c:v>44366</c:v>
                </c:pt>
                <c:pt idx="157">
                  <c:v>44367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3</c:v>
                </c:pt>
                <c:pt idx="164">
                  <c:v>44374</c:v>
                </c:pt>
                <c:pt idx="165">
                  <c:v>44375</c:v>
                </c:pt>
                <c:pt idx="166">
                  <c:v>44376</c:v>
                </c:pt>
                <c:pt idx="167">
                  <c:v>44377</c:v>
                </c:pt>
                <c:pt idx="168">
                  <c:v>44378</c:v>
                </c:pt>
                <c:pt idx="169">
                  <c:v>44379</c:v>
                </c:pt>
                <c:pt idx="170">
                  <c:v>44380</c:v>
                </c:pt>
                <c:pt idx="171">
                  <c:v>44381</c:v>
                </c:pt>
                <c:pt idx="172">
                  <c:v>44382</c:v>
                </c:pt>
                <c:pt idx="173">
                  <c:v>44383</c:v>
                </c:pt>
                <c:pt idx="174">
                  <c:v>44384</c:v>
                </c:pt>
                <c:pt idx="175">
                  <c:v>44385</c:v>
                </c:pt>
                <c:pt idx="176">
                  <c:v>44386</c:v>
                </c:pt>
                <c:pt idx="177">
                  <c:v>44387</c:v>
                </c:pt>
                <c:pt idx="178">
                  <c:v>44388</c:v>
                </c:pt>
                <c:pt idx="179">
                  <c:v>44389</c:v>
                </c:pt>
                <c:pt idx="180">
                  <c:v>44390</c:v>
                </c:pt>
                <c:pt idx="181">
                  <c:v>44391</c:v>
                </c:pt>
                <c:pt idx="182">
                  <c:v>44392</c:v>
                </c:pt>
                <c:pt idx="183">
                  <c:v>44393</c:v>
                </c:pt>
                <c:pt idx="184">
                  <c:v>44394</c:v>
                </c:pt>
                <c:pt idx="185">
                  <c:v>44395</c:v>
                </c:pt>
                <c:pt idx="186">
                  <c:v>44396</c:v>
                </c:pt>
                <c:pt idx="187">
                  <c:v>44397</c:v>
                </c:pt>
                <c:pt idx="188">
                  <c:v>44398</c:v>
                </c:pt>
                <c:pt idx="189">
                  <c:v>44399</c:v>
                </c:pt>
                <c:pt idx="190">
                  <c:v>44400</c:v>
                </c:pt>
                <c:pt idx="191">
                  <c:v>44401</c:v>
                </c:pt>
                <c:pt idx="192">
                  <c:v>44402</c:v>
                </c:pt>
                <c:pt idx="193">
                  <c:v>44403</c:v>
                </c:pt>
                <c:pt idx="194">
                  <c:v>44404</c:v>
                </c:pt>
                <c:pt idx="195">
                  <c:v>44405</c:v>
                </c:pt>
                <c:pt idx="196">
                  <c:v>44406</c:v>
                </c:pt>
                <c:pt idx="197">
                  <c:v>44407</c:v>
                </c:pt>
                <c:pt idx="198">
                  <c:v>44408</c:v>
                </c:pt>
                <c:pt idx="199">
                  <c:v>44409</c:v>
                </c:pt>
                <c:pt idx="200">
                  <c:v>44410</c:v>
                </c:pt>
                <c:pt idx="201">
                  <c:v>44411</c:v>
                </c:pt>
                <c:pt idx="202">
                  <c:v>44412</c:v>
                </c:pt>
                <c:pt idx="203">
                  <c:v>44413</c:v>
                </c:pt>
                <c:pt idx="204">
                  <c:v>44414</c:v>
                </c:pt>
                <c:pt idx="205">
                  <c:v>44415</c:v>
                </c:pt>
                <c:pt idx="206">
                  <c:v>44416</c:v>
                </c:pt>
                <c:pt idx="207">
                  <c:v>44417</c:v>
                </c:pt>
                <c:pt idx="208">
                  <c:v>44418</c:v>
                </c:pt>
                <c:pt idx="209">
                  <c:v>44419</c:v>
                </c:pt>
                <c:pt idx="210">
                  <c:v>44420</c:v>
                </c:pt>
                <c:pt idx="211">
                  <c:v>44421</c:v>
                </c:pt>
                <c:pt idx="212">
                  <c:v>44422</c:v>
                </c:pt>
                <c:pt idx="213">
                  <c:v>44423</c:v>
                </c:pt>
                <c:pt idx="214">
                  <c:v>44424</c:v>
                </c:pt>
                <c:pt idx="215">
                  <c:v>44425</c:v>
                </c:pt>
                <c:pt idx="216">
                  <c:v>44426</c:v>
                </c:pt>
                <c:pt idx="217">
                  <c:v>44427</c:v>
                </c:pt>
                <c:pt idx="218">
                  <c:v>44428</c:v>
                </c:pt>
                <c:pt idx="219">
                  <c:v>44429</c:v>
                </c:pt>
                <c:pt idx="220">
                  <c:v>44430</c:v>
                </c:pt>
                <c:pt idx="221">
                  <c:v>44431</c:v>
                </c:pt>
                <c:pt idx="222">
                  <c:v>44432</c:v>
                </c:pt>
                <c:pt idx="223">
                  <c:v>44433</c:v>
                </c:pt>
                <c:pt idx="224">
                  <c:v>44434</c:v>
                </c:pt>
                <c:pt idx="225">
                  <c:v>44435</c:v>
                </c:pt>
                <c:pt idx="226">
                  <c:v>44436</c:v>
                </c:pt>
                <c:pt idx="227">
                  <c:v>44437</c:v>
                </c:pt>
                <c:pt idx="228">
                  <c:v>44438</c:v>
                </c:pt>
                <c:pt idx="229">
                  <c:v>44439</c:v>
                </c:pt>
                <c:pt idx="230">
                  <c:v>44440</c:v>
                </c:pt>
                <c:pt idx="231">
                  <c:v>44441</c:v>
                </c:pt>
                <c:pt idx="232">
                  <c:v>44442</c:v>
                </c:pt>
                <c:pt idx="233">
                  <c:v>44443</c:v>
                </c:pt>
                <c:pt idx="234">
                  <c:v>44444</c:v>
                </c:pt>
                <c:pt idx="235">
                  <c:v>44445</c:v>
                </c:pt>
                <c:pt idx="236">
                  <c:v>44446</c:v>
                </c:pt>
                <c:pt idx="237">
                  <c:v>44447</c:v>
                </c:pt>
                <c:pt idx="238">
                  <c:v>44448</c:v>
                </c:pt>
                <c:pt idx="239">
                  <c:v>44449</c:v>
                </c:pt>
                <c:pt idx="240">
                  <c:v>44450</c:v>
                </c:pt>
                <c:pt idx="241">
                  <c:v>44451</c:v>
                </c:pt>
                <c:pt idx="242">
                  <c:v>44452</c:v>
                </c:pt>
                <c:pt idx="243">
                  <c:v>44453</c:v>
                </c:pt>
                <c:pt idx="244">
                  <c:v>44454</c:v>
                </c:pt>
                <c:pt idx="245">
                  <c:v>44455</c:v>
                </c:pt>
                <c:pt idx="246">
                  <c:v>44456</c:v>
                </c:pt>
                <c:pt idx="247">
                  <c:v>44457</c:v>
                </c:pt>
                <c:pt idx="248">
                  <c:v>44458</c:v>
                </c:pt>
                <c:pt idx="249">
                  <c:v>44459</c:v>
                </c:pt>
                <c:pt idx="250">
                  <c:v>44460</c:v>
                </c:pt>
                <c:pt idx="251">
                  <c:v>44461</c:v>
                </c:pt>
                <c:pt idx="252">
                  <c:v>44462</c:v>
                </c:pt>
                <c:pt idx="253">
                  <c:v>44463</c:v>
                </c:pt>
                <c:pt idx="254">
                  <c:v>44464</c:v>
                </c:pt>
                <c:pt idx="255">
                  <c:v>44465</c:v>
                </c:pt>
                <c:pt idx="256">
                  <c:v>44466</c:v>
                </c:pt>
                <c:pt idx="257">
                  <c:v>44467</c:v>
                </c:pt>
                <c:pt idx="258">
                  <c:v>44468</c:v>
                </c:pt>
                <c:pt idx="259">
                  <c:v>44469</c:v>
                </c:pt>
                <c:pt idx="260">
                  <c:v>44470</c:v>
                </c:pt>
                <c:pt idx="261">
                  <c:v>44471</c:v>
                </c:pt>
                <c:pt idx="262">
                  <c:v>44472</c:v>
                </c:pt>
                <c:pt idx="263">
                  <c:v>44473</c:v>
                </c:pt>
                <c:pt idx="264">
                  <c:v>44474</c:v>
                </c:pt>
                <c:pt idx="265">
                  <c:v>44475</c:v>
                </c:pt>
                <c:pt idx="266">
                  <c:v>44476</c:v>
                </c:pt>
                <c:pt idx="267">
                  <c:v>44477</c:v>
                </c:pt>
                <c:pt idx="268">
                  <c:v>44478</c:v>
                </c:pt>
                <c:pt idx="269">
                  <c:v>44479</c:v>
                </c:pt>
                <c:pt idx="270">
                  <c:v>44480</c:v>
                </c:pt>
                <c:pt idx="271">
                  <c:v>44481</c:v>
                </c:pt>
                <c:pt idx="272">
                  <c:v>44482</c:v>
                </c:pt>
                <c:pt idx="273">
                  <c:v>44483</c:v>
                </c:pt>
                <c:pt idx="274">
                  <c:v>44484</c:v>
                </c:pt>
                <c:pt idx="275">
                  <c:v>44485</c:v>
                </c:pt>
                <c:pt idx="276">
                  <c:v>44486</c:v>
                </c:pt>
                <c:pt idx="277">
                  <c:v>44487</c:v>
                </c:pt>
                <c:pt idx="278">
                  <c:v>44488</c:v>
                </c:pt>
                <c:pt idx="279">
                  <c:v>44489</c:v>
                </c:pt>
                <c:pt idx="280">
                  <c:v>44490</c:v>
                </c:pt>
                <c:pt idx="281">
                  <c:v>44491</c:v>
                </c:pt>
                <c:pt idx="282">
                  <c:v>44492</c:v>
                </c:pt>
                <c:pt idx="283">
                  <c:v>44493</c:v>
                </c:pt>
                <c:pt idx="284">
                  <c:v>44494</c:v>
                </c:pt>
                <c:pt idx="285">
                  <c:v>44495</c:v>
                </c:pt>
                <c:pt idx="286">
                  <c:v>44496</c:v>
                </c:pt>
                <c:pt idx="287">
                  <c:v>44497</c:v>
                </c:pt>
                <c:pt idx="288">
                  <c:v>44498</c:v>
                </c:pt>
                <c:pt idx="289">
                  <c:v>44499</c:v>
                </c:pt>
                <c:pt idx="290">
                  <c:v>44500</c:v>
                </c:pt>
                <c:pt idx="291">
                  <c:v>44501</c:v>
                </c:pt>
                <c:pt idx="292">
                  <c:v>44502</c:v>
                </c:pt>
                <c:pt idx="293">
                  <c:v>44503</c:v>
                </c:pt>
                <c:pt idx="294">
                  <c:v>44504</c:v>
                </c:pt>
                <c:pt idx="295">
                  <c:v>44505</c:v>
                </c:pt>
                <c:pt idx="296">
                  <c:v>44506</c:v>
                </c:pt>
                <c:pt idx="297">
                  <c:v>44507</c:v>
                </c:pt>
                <c:pt idx="298">
                  <c:v>44508</c:v>
                </c:pt>
                <c:pt idx="299">
                  <c:v>44509</c:v>
                </c:pt>
                <c:pt idx="300">
                  <c:v>44510</c:v>
                </c:pt>
                <c:pt idx="301">
                  <c:v>44511</c:v>
                </c:pt>
                <c:pt idx="302">
                  <c:v>44512</c:v>
                </c:pt>
                <c:pt idx="303">
                  <c:v>44513</c:v>
                </c:pt>
                <c:pt idx="304">
                  <c:v>44514</c:v>
                </c:pt>
                <c:pt idx="305">
                  <c:v>44515</c:v>
                </c:pt>
                <c:pt idx="306">
                  <c:v>44516</c:v>
                </c:pt>
                <c:pt idx="307">
                  <c:v>44517</c:v>
                </c:pt>
                <c:pt idx="308">
                  <c:v>44518</c:v>
                </c:pt>
                <c:pt idx="309">
                  <c:v>44519</c:v>
                </c:pt>
                <c:pt idx="310">
                  <c:v>44520</c:v>
                </c:pt>
                <c:pt idx="311">
                  <c:v>44521</c:v>
                </c:pt>
                <c:pt idx="312">
                  <c:v>44522</c:v>
                </c:pt>
                <c:pt idx="313">
                  <c:v>44523</c:v>
                </c:pt>
                <c:pt idx="314">
                  <c:v>44524</c:v>
                </c:pt>
                <c:pt idx="315">
                  <c:v>44525</c:v>
                </c:pt>
                <c:pt idx="316">
                  <c:v>44526</c:v>
                </c:pt>
                <c:pt idx="317">
                  <c:v>44527</c:v>
                </c:pt>
                <c:pt idx="318">
                  <c:v>44528</c:v>
                </c:pt>
                <c:pt idx="319">
                  <c:v>44529</c:v>
                </c:pt>
                <c:pt idx="320">
                  <c:v>44530</c:v>
                </c:pt>
                <c:pt idx="321">
                  <c:v>44531</c:v>
                </c:pt>
                <c:pt idx="322">
                  <c:v>44532</c:v>
                </c:pt>
                <c:pt idx="323">
                  <c:v>44533</c:v>
                </c:pt>
                <c:pt idx="324">
                  <c:v>44534</c:v>
                </c:pt>
                <c:pt idx="325">
                  <c:v>44535</c:v>
                </c:pt>
                <c:pt idx="326">
                  <c:v>44536</c:v>
                </c:pt>
                <c:pt idx="327">
                  <c:v>44537</c:v>
                </c:pt>
                <c:pt idx="328">
                  <c:v>44538</c:v>
                </c:pt>
                <c:pt idx="329">
                  <c:v>44539</c:v>
                </c:pt>
                <c:pt idx="330">
                  <c:v>44540</c:v>
                </c:pt>
                <c:pt idx="331">
                  <c:v>44541</c:v>
                </c:pt>
                <c:pt idx="332">
                  <c:v>44542</c:v>
                </c:pt>
                <c:pt idx="333">
                  <c:v>44543</c:v>
                </c:pt>
                <c:pt idx="334">
                  <c:v>44544</c:v>
                </c:pt>
                <c:pt idx="335">
                  <c:v>44545</c:v>
                </c:pt>
                <c:pt idx="336">
                  <c:v>44546</c:v>
                </c:pt>
                <c:pt idx="337">
                  <c:v>44547</c:v>
                </c:pt>
                <c:pt idx="338">
                  <c:v>44548</c:v>
                </c:pt>
                <c:pt idx="339">
                  <c:v>44549</c:v>
                </c:pt>
                <c:pt idx="340">
                  <c:v>44550</c:v>
                </c:pt>
                <c:pt idx="341">
                  <c:v>44551</c:v>
                </c:pt>
                <c:pt idx="342">
                  <c:v>44552</c:v>
                </c:pt>
                <c:pt idx="343">
                  <c:v>44553</c:v>
                </c:pt>
                <c:pt idx="344">
                  <c:v>44554</c:v>
                </c:pt>
                <c:pt idx="345">
                  <c:v>44555</c:v>
                </c:pt>
                <c:pt idx="346">
                  <c:v>44556</c:v>
                </c:pt>
                <c:pt idx="347">
                  <c:v>44557</c:v>
                </c:pt>
                <c:pt idx="348">
                  <c:v>44558</c:v>
                </c:pt>
                <c:pt idx="349">
                  <c:v>44559</c:v>
                </c:pt>
                <c:pt idx="350">
                  <c:v>44560</c:v>
                </c:pt>
                <c:pt idx="351">
                  <c:v>44561</c:v>
                </c:pt>
                <c:pt idx="352">
                  <c:v>44562</c:v>
                </c:pt>
                <c:pt idx="353">
                  <c:v>44563</c:v>
                </c:pt>
                <c:pt idx="354">
                  <c:v>44564</c:v>
                </c:pt>
                <c:pt idx="355">
                  <c:v>44565</c:v>
                </c:pt>
                <c:pt idx="356">
                  <c:v>44566</c:v>
                </c:pt>
                <c:pt idx="357">
                  <c:v>44567</c:v>
                </c:pt>
                <c:pt idx="358">
                  <c:v>44568</c:v>
                </c:pt>
                <c:pt idx="359">
                  <c:v>44569</c:v>
                </c:pt>
                <c:pt idx="360">
                  <c:v>44570</c:v>
                </c:pt>
                <c:pt idx="361">
                  <c:v>44571</c:v>
                </c:pt>
                <c:pt idx="362">
                  <c:v>44572</c:v>
                </c:pt>
                <c:pt idx="363">
                  <c:v>44573</c:v>
                </c:pt>
                <c:pt idx="364">
                  <c:v>44574</c:v>
                </c:pt>
                <c:pt idx="365">
                  <c:v>44575</c:v>
                </c:pt>
                <c:pt idx="366">
                  <c:v>44576</c:v>
                </c:pt>
                <c:pt idx="367">
                  <c:v>44577</c:v>
                </c:pt>
                <c:pt idx="368">
                  <c:v>44578</c:v>
                </c:pt>
                <c:pt idx="369">
                  <c:v>44579</c:v>
                </c:pt>
                <c:pt idx="370">
                  <c:v>44580</c:v>
                </c:pt>
                <c:pt idx="371">
                  <c:v>44581</c:v>
                </c:pt>
                <c:pt idx="372">
                  <c:v>44582</c:v>
                </c:pt>
                <c:pt idx="373">
                  <c:v>44583</c:v>
                </c:pt>
                <c:pt idx="374">
                  <c:v>44584</c:v>
                </c:pt>
                <c:pt idx="375">
                  <c:v>44585</c:v>
                </c:pt>
                <c:pt idx="376">
                  <c:v>44586</c:v>
                </c:pt>
                <c:pt idx="377">
                  <c:v>44587</c:v>
                </c:pt>
                <c:pt idx="378">
                  <c:v>44588</c:v>
                </c:pt>
                <c:pt idx="379">
                  <c:v>44589</c:v>
                </c:pt>
                <c:pt idx="380">
                  <c:v>44590</c:v>
                </c:pt>
                <c:pt idx="381">
                  <c:v>44591</c:v>
                </c:pt>
                <c:pt idx="382">
                  <c:v>44592</c:v>
                </c:pt>
                <c:pt idx="383">
                  <c:v>44593</c:v>
                </c:pt>
                <c:pt idx="384">
                  <c:v>44594</c:v>
                </c:pt>
                <c:pt idx="385">
                  <c:v>44595</c:v>
                </c:pt>
                <c:pt idx="386">
                  <c:v>44596</c:v>
                </c:pt>
                <c:pt idx="387">
                  <c:v>44597</c:v>
                </c:pt>
                <c:pt idx="388">
                  <c:v>44598</c:v>
                </c:pt>
                <c:pt idx="389">
                  <c:v>44599</c:v>
                </c:pt>
                <c:pt idx="390">
                  <c:v>44600</c:v>
                </c:pt>
                <c:pt idx="391">
                  <c:v>44601</c:v>
                </c:pt>
                <c:pt idx="392">
                  <c:v>44602</c:v>
                </c:pt>
                <c:pt idx="393">
                  <c:v>44603</c:v>
                </c:pt>
                <c:pt idx="394">
                  <c:v>44604</c:v>
                </c:pt>
                <c:pt idx="395">
                  <c:v>44605</c:v>
                </c:pt>
                <c:pt idx="396">
                  <c:v>44606</c:v>
                </c:pt>
                <c:pt idx="397">
                  <c:v>44607</c:v>
                </c:pt>
                <c:pt idx="398">
                  <c:v>44608</c:v>
                </c:pt>
                <c:pt idx="399">
                  <c:v>44609</c:v>
                </c:pt>
                <c:pt idx="400">
                  <c:v>44610</c:v>
                </c:pt>
                <c:pt idx="401">
                  <c:v>44611</c:v>
                </c:pt>
                <c:pt idx="402">
                  <c:v>44612</c:v>
                </c:pt>
                <c:pt idx="403">
                  <c:v>44613</c:v>
                </c:pt>
                <c:pt idx="404">
                  <c:v>44614</c:v>
                </c:pt>
                <c:pt idx="405">
                  <c:v>44615</c:v>
                </c:pt>
                <c:pt idx="406">
                  <c:v>44616</c:v>
                </c:pt>
                <c:pt idx="407">
                  <c:v>44617</c:v>
                </c:pt>
                <c:pt idx="408">
                  <c:v>44618</c:v>
                </c:pt>
                <c:pt idx="409">
                  <c:v>44619</c:v>
                </c:pt>
                <c:pt idx="410">
                  <c:v>44620</c:v>
                </c:pt>
                <c:pt idx="411">
                  <c:v>44621</c:v>
                </c:pt>
                <c:pt idx="412">
                  <c:v>44622</c:v>
                </c:pt>
                <c:pt idx="413">
                  <c:v>44623</c:v>
                </c:pt>
                <c:pt idx="414">
                  <c:v>44624</c:v>
                </c:pt>
                <c:pt idx="415">
                  <c:v>44625</c:v>
                </c:pt>
                <c:pt idx="416">
                  <c:v>44626</c:v>
                </c:pt>
                <c:pt idx="417">
                  <c:v>44627</c:v>
                </c:pt>
                <c:pt idx="418">
                  <c:v>44628</c:v>
                </c:pt>
                <c:pt idx="419">
                  <c:v>44629</c:v>
                </c:pt>
                <c:pt idx="420">
                  <c:v>44630</c:v>
                </c:pt>
                <c:pt idx="421">
                  <c:v>44631</c:v>
                </c:pt>
                <c:pt idx="422">
                  <c:v>44632</c:v>
                </c:pt>
                <c:pt idx="423">
                  <c:v>44633</c:v>
                </c:pt>
                <c:pt idx="424">
                  <c:v>44634</c:v>
                </c:pt>
                <c:pt idx="425">
                  <c:v>44635</c:v>
                </c:pt>
                <c:pt idx="426">
                  <c:v>44636</c:v>
                </c:pt>
                <c:pt idx="427">
                  <c:v>44637</c:v>
                </c:pt>
                <c:pt idx="428">
                  <c:v>44638</c:v>
                </c:pt>
                <c:pt idx="429">
                  <c:v>44639</c:v>
                </c:pt>
                <c:pt idx="430">
                  <c:v>44640</c:v>
                </c:pt>
                <c:pt idx="431">
                  <c:v>44641</c:v>
                </c:pt>
                <c:pt idx="432">
                  <c:v>44642</c:v>
                </c:pt>
                <c:pt idx="433">
                  <c:v>44643</c:v>
                </c:pt>
                <c:pt idx="434">
                  <c:v>44644</c:v>
                </c:pt>
                <c:pt idx="435">
                  <c:v>44645</c:v>
                </c:pt>
                <c:pt idx="436">
                  <c:v>44646</c:v>
                </c:pt>
                <c:pt idx="437">
                  <c:v>44647</c:v>
                </c:pt>
                <c:pt idx="438">
                  <c:v>44648</c:v>
                </c:pt>
                <c:pt idx="439">
                  <c:v>44649</c:v>
                </c:pt>
                <c:pt idx="440">
                  <c:v>44650</c:v>
                </c:pt>
                <c:pt idx="441">
                  <c:v>44651</c:v>
                </c:pt>
                <c:pt idx="442">
                  <c:v>44652</c:v>
                </c:pt>
                <c:pt idx="443">
                  <c:v>44653</c:v>
                </c:pt>
                <c:pt idx="444">
                  <c:v>44654</c:v>
                </c:pt>
                <c:pt idx="445">
                  <c:v>44655</c:v>
                </c:pt>
                <c:pt idx="446">
                  <c:v>44656</c:v>
                </c:pt>
                <c:pt idx="447">
                  <c:v>44657</c:v>
                </c:pt>
                <c:pt idx="448">
                  <c:v>44658</c:v>
                </c:pt>
              </c:numCache>
            </c:numRef>
          </c:cat>
          <c:val>
            <c:numRef>
              <c:f>Sheet1!$B$107:$B$555</c:f>
              <c:numCache>
                <c:formatCode>General</c:formatCode>
                <c:ptCount val="449"/>
                <c:pt idx="0">
                  <c:v>0.28264640290699999</c:v>
                </c:pt>
                <c:pt idx="1">
                  <c:v>0.31816722837400002</c:v>
                </c:pt>
                <c:pt idx="2">
                  <c:v>0.322634292366</c:v>
                </c:pt>
                <c:pt idx="3">
                  <c:v>0.30645161290299999</c:v>
                </c:pt>
                <c:pt idx="4">
                  <c:v>0.26993422830800001</c:v>
                </c:pt>
                <c:pt idx="5">
                  <c:v>0.34257051229300001</c:v>
                </c:pt>
                <c:pt idx="6">
                  <c:v>0.30957761167999998</c:v>
                </c:pt>
                <c:pt idx="7">
                  <c:v>0.33155025203100003</c:v>
                </c:pt>
                <c:pt idx="8">
                  <c:v>0.29276233408399999</c:v>
                </c:pt>
                <c:pt idx="9">
                  <c:v>0.30585937499999999</c:v>
                </c:pt>
                <c:pt idx="10">
                  <c:v>0.27286081527700001</c:v>
                </c:pt>
                <c:pt idx="11">
                  <c:v>0.23066117250400001</c:v>
                </c:pt>
                <c:pt idx="12">
                  <c:v>0.316880053908</c:v>
                </c:pt>
                <c:pt idx="13">
                  <c:v>0.303151243036</c:v>
                </c:pt>
                <c:pt idx="14">
                  <c:v>0.31887994006300002</c:v>
                </c:pt>
                <c:pt idx="15">
                  <c:v>0.27425310506799999</c:v>
                </c:pt>
                <c:pt idx="16">
                  <c:v>0.29660512209599998</c:v>
                </c:pt>
                <c:pt idx="17">
                  <c:v>0.30640124902400001</c:v>
                </c:pt>
                <c:pt idx="18">
                  <c:v>0.25284629981000001</c:v>
                </c:pt>
                <c:pt idx="19">
                  <c:v>0.30909686399699998</c:v>
                </c:pt>
                <c:pt idx="20">
                  <c:v>0.317800032304</c:v>
                </c:pt>
                <c:pt idx="21">
                  <c:v>0.29671683830599999</c:v>
                </c:pt>
                <c:pt idx="22">
                  <c:v>0.29246726747099999</c:v>
                </c:pt>
                <c:pt idx="23">
                  <c:v>0.32843611057400002</c:v>
                </c:pt>
                <c:pt idx="24">
                  <c:v>0.26944012441600002</c:v>
                </c:pt>
                <c:pt idx="25">
                  <c:v>0.27802174822199999</c:v>
                </c:pt>
                <c:pt idx="26">
                  <c:v>0.34797100241599999</c:v>
                </c:pt>
                <c:pt idx="27">
                  <c:v>0.33266297972100001</c:v>
                </c:pt>
                <c:pt idx="28">
                  <c:v>0.32528124182399998</c:v>
                </c:pt>
                <c:pt idx="29">
                  <c:v>0.30051118746299998</c:v>
                </c:pt>
                <c:pt idx="30">
                  <c:v>0.31093007467700001</c:v>
                </c:pt>
                <c:pt idx="31">
                  <c:v>0.29751434034399998</c:v>
                </c:pt>
                <c:pt idx="32">
                  <c:v>0.28001464128800002</c:v>
                </c:pt>
                <c:pt idx="33">
                  <c:v>0.378549584971</c:v>
                </c:pt>
                <c:pt idx="34">
                  <c:v>0.35112207912299997</c:v>
                </c:pt>
                <c:pt idx="35">
                  <c:v>0.35437106457700002</c:v>
                </c:pt>
                <c:pt idx="36">
                  <c:v>0.32186648501300003</c:v>
                </c:pt>
                <c:pt idx="37">
                  <c:v>0.38404540438200002</c:v>
                </c:pt>
                <c:pt idx="38">
                  <c:v>0.39273927392699998</c:v>
                </c:pt>
                <c:pt idx="39">
                  <c:v>0.312634326066</c:v>
                </c:pt>
                <c:pt idx="40">
                  <c:v>0.40237785621400002</c:v>
                </c:pt>
                <c:pt idx="41">
                  <c:v>0.37396923076900002</c:v>
                </c:pt>
                <c:pt idx="42">
                  <c:v>0.38904971680299999</c:v>
                </c:pt>
                <c:pt idx="43">
                  <c:v>0.37375840123699999</c:v>
                </c:pt>
                <c:pt idx="44">
                  <c:v>0.37092640058499998</c:v>
                </c:pt>
                <c:pt idx="45">
                  <c:v>0.37257980115099998</c:v>
                </c:pt>
                <c:pt idx="46">
                  <c:v>0.325473358203</c:v>
                </c:pt>
                <c:pt idx="47">
                  <c:v>0.389775463351</c:v>
                </c:pt>
                <c:pt idx="48">
                  <c:v>0.39252999231699998</c:v>
                </c:pt>
                <c:pt idx="49">
                  <c:v>0.39106044154899999</c:v>
                </c:pt>
                <c:pt idx="50">
                  <c:v>0.32525951556999999</c:v>
                </c:pt>
                <c:pt idx="51">
                  <c:v>0.45492607614800001</c:v>
                </c:pt>
                <c:pt idx="52">
                  <c:v>0.35332294911700002</c:v>
                </c:pt>
                <c:pt idx="53">
                  <c:v>0.30322773908400003</c:v>
                </c:pt>
                <c:pt idx="54">
                  <c:v>0.38818698673399998</c:v>
                </c:pt>
                <c:pt idx="55">
                  <c:v>0.37552795031000002</c:v>
                </c:pt>
                <c:pt idx="56">
                  <c:v>0.32864699331800001</c:v>
                </c:pt>
                <c:pt idx="57">
                  <c:v>0.393832599118</c:v>
                </c:pt>
                <c:pt idx="58">
                  <c:v>0.373809872564</c:v>
                </c:pt>
                <c:pt idx="59">
                  <c:v>0.328093645484</c:v>
                </c:pt>
                <c:pt idx="60">
                  <c:v>0.28214258655899999</c:v>
                </c:pt>
                <c:pt idx="61">
                  <c:v>0.377774815012</c:v>
                </c:pt>
                <c:pt idx="62">
                  <c:v>0.357137735713</c:v>
                </c:pt>
                <c:pt idx="63">
                  <c:v>0.339078156312</c:v>
                </c:pt>
                <c:pt idx="64">
                  <c:v>0.29893153937400002</c:v>
                </c:pt>
                <c:pt idx="65">
                  <c:v>0.29677321617899999</c:v>
                </c:pt>
                <c:pt idx="66">
                  <c:v>0.25254502740700002</c:v>
                </c:pt>
                <c:pt idx="67">
                  <c:v>0.23622881355899999</c:v>
                </c:pt>
                <c:pt idx="68">
                  <c:v>0.31471528181199998</c:v>
                </c:pt>
                <c:pt idx="69">
                  <c:v>0.30870937473299997</c:v>
                </c:pt>
                <c:pt idx="70">
                  <c:v>0.26316240047900002</c:v>
                </c:pt>
                <c:pt idx="71">
                  <c:v>0.267733721353</c:v>
                </c:pt>
                <c:pt idx="72">
                  <c:v>0.29822251481200002</c:v>
                </c:pt>
                <c:pt idx="73">
                  <c:v>0.12399540757700001</c:v>
                </c:pt>
                <c:pt idx="74">
                  <c:v>0.20868055555500001</c:v>
                </c:pt>
                <c:pt idx="75">
                  <c:v>0.27574071042699999</c:v>
                </c:pt>
                <c:pt idx="76">
                  <c:v>0.26304820587099997</c:v>
                </c:pt>
                <c:pt idx="77">
                  <c:v>0.24128084846</c:v>
                </c:pt>
                <c:pt idx="78">
                  <c:v>0.26506506506499999</c:v>
                </c:pt>
                <c:pt idx="79">
                  <c:v>0.22812393598899999</c:v>
                </c:pt>
                <c:pt idx="80">
                  <c:v>0.19613016710600001</c:v>
                </c:pt>
                <c:pt idx="81">
                  <c:v>0.100365476525</c:v>
                </c:pt>
                <c:pt idx="82">
                  <c:v>0.18336967858100001</c:v>
                </c:pt>
                <c:pt idx="83">
                  <c:v>0.25469728601199998</c:v>
                </c:pt>
                <c:pt idx="84">
                  <c:v>0.247321329945</c:v>
                </c:pt>
                <c:pt idx="85">
                  <c:v>0.20963233713099999</c:v>
                </c:pt>
                <c:pt idx="86">
                  <c:v>0.1856975381</c:v>
                </c:pt>
                <c:pt idx="87">
                  <c:v>0.13398533007300001</c:v>
                </c:pt>
                <c:pt idx="88">
                  <c:v>0.12242562929</c:v>
                </c:pt>
                <c:pt idx="89">
                  <c:v>0.19337449769599999</c:v>
                </c:pt>
                <c:pt idx="90">
                  <c:v>0.15144334338599999</c:v>
                </c:pt>
                <c:pt idx="91">
                  <c:v>0.164912280701</c:v>
                </c:pt>
                <c:pt idx="92">
                  <c:v>0.14960123488499999</c:v>
                </c:pt>
                <c:pt idx="93">
                  <c:v>0.140396210163</c:v>
                </c:pt>
                <c:pt idx="94">
                  <c:v>0.104960835509</c:v>
                </c:pt>
                <c:pt idx="95">
                  <c:v>0.11870066788</c:v>
                </c:pt>
                <c:pt idx="96">
                  <c:v>0.15997848305500001</c:v>
                </c:pt>
                <c:pt idx="97">
                  <c:v>0.13590790939399999</c:v>
                </c:pt>
                <c:pt idx="98">
                  <c:v>0.14367487120700001</c:v>
                </c:pt>
                <c:pt idx="99">
                  <c:v>0.123397214945</c:v>
                </c:pt>
                <c:pt idx="100">
                  <c:v>0.124213315667</c:v>
                </c:pt>
                <c:pt idx="101">
                  <c:v>0.13324538258499999</c:v>
                </c:pt>
                <c:pt idx="102">
                  <c:v>9.6592752838999998E-2</c:v>
                </c:pt>
                <c:pt idx="103">
                  <c:v>0.15537004734599999</c:v>
                </c:pt>
                <c:pt idx="104">
                  <c:v>0.110314523589</c:v>
                </c:pt>
                <c:pt idx="105">
                  <c:v>0.110369260117</c:v>
                </c:pt>
                <c:pt idx="106">
                  <c:v>0.100749264115</c:v>
                </c:pt>
                <c:pt idx="107">
                  <c:v>0.118067978533</c:v>
                </c:pt>
                <c:pt idx="108">
                  <c:v>8.6826347304999996E-2</c:v>
                </c:pt>
                <c:pt idx="109">
                  <c:v>7.6564156945000003E-2</c:v>
                </c:pt>
                <c:pt idx="110">
                  <c:v>0.110528287748</c:v>
                </c:pt>
                <c:pt idx="111">
                  <c:v>8.7028542303E-2</c:v>
                </c:pt>
                <c:pt idx="112">
                  <c:v>8.2438316400000003E-2</c:v>
                </c:pt>
                <c:pt idx="113">
                  <c:v>7.7907307364000006E-2</c:v>
                </c:pt>
                <c:pt idx="114">
                  <c:v>6.6476462195999994E-2</c:v>
                </c:pt>
                <c:pt idx="115">
                  <c:v>6.3905325442999997E-2</c:v>
                </c:pt>
                <c:pt idx="116">
                  <c:v>5.2092050208999999E-2</c:v>
                </c:pt>
                <c:pt idx="117">
                  <c:v>9.0909090908999998E-2</c:v>
                </c:pt>
                <c:pt idx="118">
                  <c:v>6.0728162325000001E-2</c:v>
                </c:pt>
                <c:pt idx="119">
                  <c:v>6.6731141199000005E-2</c:v>
                </c:pt>
                <c:pt idx="120">
                  <c:v>5.2917232021000002E-2</c:v>
                </c:pt>
                <c:pt idx="121">
                  <c:v>6.0563380281000001E-2</c:v>
                </c:pt>
                <c:pt idx="122">
                  <c:v>3.5337879726999998E-2</c:v>
                </c:pt>
                <c:pt idx="123">
                  <c:v>3.4794851166E-2</c:v>
                </c:pt>
                <c:pt idx="124">
                  <c:v>5.7523859327999999E-2</c:v>
                </c:pt>
                <c:pt idx="125">
                  <c:v>3.4752747251999998E-2</c:v>
                </c:pt>
                <c:pt idx="126">
                  <c:v>3.8844458951999998E-2</c:v>
                </c:pt>
                <c:pt idx="127">
                  <c:v>3.2090948336999998E-2</c:v>
                </c:pt>
                <c:pt idx="128">
                  <c:v>3.1455236778000002E-2</c:v>
                </c:pt>
                <c:pt idx="129">
                  <c:v>2.9207232267000002E-2</c:v>
                </c:pt>
                <c:pt idx="130">
                  <c:v>2.3574693288E-2</c:v>
                </c:pt>
                <c:pt idx="131">
                  <c:v>2.7361220730999999E-2</c:v>
                </c:pt>
                <c:pt idx="132">
                  <c:v>3.5634360475000001E-2</c:v>
                </c:pt>
                <c:pt idx="133">
                  <c:v>2.7905393907999999E-2</c:v>
                </c:pt>
                <c:pt idx="134">
                  <c:v>2.2441651704999999E-2</c:v>
                </c:pt>
                <c:pt idx="135">
                  <c:v>2.5057825751000001E-2</c:v>
                </c:pt>
                <c:pt idx="136">
                  <c:v>1.1815920398E-2</c:v>
                </c:pt>
                <c:pt idx="137">
                  <c:v>1.861210403E-2</c:v>
                </c:pt>
                <c:pt idx="138">
                  <c:v>2.1769553723999999E-2</c:v>
                </c:pt>
                <c:pt idx="139">
                  <c:v>1.874772479E-2</c:v>
                </c:pt>
                <c:pt idx="140">
                  <c:v>2.5459450344999999E-2</c:v>
                </c:pt>
                <c:pt idx="141">
                  <c:v>1.5638279788999999E-2</c:v>
                </c:pt>
                <c:pt idx="142">
                  <c:v>1.7484008528E-2</c:v>
                </c:pt>
                <c:pt idx="143">
                  <c:v>1.1196641007E-2</c:v>
                </c:pt>
                <c:pt idx="144">
                  <c:v>9.9502487560000005E-3</c:v>
                </c:pt>
                <c:pt idx="145">
                  <c:v>1.8821198612999999E-2</c:v>
                </c:pt>
                <c:pt idx="146">
                  <c:v>1.1548655812E-2</c:v>
                </c:pt>
                <c:pt idx="147">
                  <c:v>1.1448701012E-2</c:v>
                </c:pt>
                <c:pt idx="148">
                  <c:v>9.2236740960000008E-3</c:v>
                </c:pt>
                <c:pt idx="149">
                  <c:v>9.2064883819999999E-3</c:v>
                </c:pt>
                <c:pt idx="150">
                  <c:v>7.0771408349999997E-3</c:v>
                </c:pt>
                <c:pt idx="151">
                  <c:v>9.7069926290000007E-3</c:v>
                </c:pt>
                <c:pt idx="152">
                  <c:v>8.9702188730000007E-3</c:v>
                </c:pt>
                <c:pt idx="153">
                  <c:v>1.0977522216000001E-2</c:v>
                </c:pt>
                <c:pt idx="154">
                  <c:v>8.3132793690000005E-3</c:v>
                </c:pt>
                <c:pt idx="155">
                  <c:v>9.3346098609999994E-3</c:v>
                </c:pt>
                <c:pt idx="156">
                  <c:v>1.0329562222999999E-2</c:v>
                </c:pt>
                <c:pt idx="157">
                  <c:v>6.4516129030000001E-3</c:v>
                </c:pt>
                <c:pt idx="158">
                  <c:v>8.1795700970000006E-3</c:v>
                </c:pt>
                <c:pt idx="159">
                  <c:v>8.1172491540000002E-3</c:v>
                </c:pt>
                <c:pt idx="160">
                  <c:v>8.4674005079999996E-3</c:v>
                </c:pt>
                <c:pt idx="161">
                  <c:v>4.1163556529999999E-3</c:v>
                </c:pt>
                <c:pt idx="162">
                  <c:v>9.9255583119999997E-3</c:v>
                </c:pt>
                <c:pt idx="163">
                  <c:v>6.0301507529999998E-3</c:v>
                </c:pt>
                <c:pt idx="164">
                  <c:v>8.2949308750000002E-3</c:v>
                </c:pt>
                <c:pt idx="165">
                  <c:v>5.9275521400000003E-3</c:v>
                </c:pt>
                <c:pt idx="166">
                  <c:v>8.6430423499999996E-3</c:v>
                </c:pt>
                <c:pt idx="167">
                  <c:v>6.2398890679999999E-3</c:v>
                </c:pt>
                <c:pt idx="168">
                  <c:v>1.1174571641000001E-2</c:v>
                </c:pt>
                <c:pt idx="169">
                  <c:v>8.4745762709999995E-3</c:v>
                </c:pt>
                <c:pt idx="170">
                  <c:v>8.6442220199999999E-3</c:v>
                </c:pt>
                <c:pt idx="171">
                  <c:v>1.2057272042E-2</c:v>
                </c:pt>
                <c:pt idx="172">
                  <c:v>2.6600985221E-2</c:v>
                </c:pt>
                <c:pt idx="173">
                  <c:v>1.5801354401000001E-2</c:v>
                </c:pt>
                <c:pt idx="174">
                  <c:v>1.7500875042999998E-2</c:v>
                </c:pt>
                <c:pt idx="175">
                  <c:v>1.1075949367E-2</c:v>
                </c:pt>
                <c:pt idx="176">
                  <c:v>1.7627308336999999E-2</c:v>
                </c:pt>
                <c:pt idx="177">
                  <c:v>1.6309012875000001E-2</c:v>
                </c:pt>
                <c:pt idx="178">
                  <c:v>2.2165387894000001E-2</c:v>
                </c:pt>
                <c:pt idx="179">
                  <c:v>1.7801857585000001E-2</c:v>
                </c:pt>
                <c:pt idx="180">
                  <c:v>2.055406613E-2</c:v>
                </c:pt>
                <c:pt idx="181">
                  <c:v>1.4920424403E-2</c:v>
                </c:pt>
                <c:pt idx="182">
                  <c:v>1.3974737972999999E-2</c:v>
                </c:pt>
                <c:pt idx="183">
                  <c:v>1.332108406E-2</c:v>
                </c:pt>
                <c:pt idx="184">
                  <c:v>1.5647226173E-2</c:v>
                </c:pt>
                <c:pt idx="185">
                  <c:v>1.6116653875000001E-2</c:v>
                </c:pt>
                <c:pt idx="186">
                  <c:v>1.5398282499E-2</c:v>
                </c:pt>
                <c:pt idx="187">
                  <c:v>1.9437799043000002E-2</c:v>
                </c:pt>
                <c:pt idx="188">
                  <c:v>1.6149068321999999E-2</c:v>
                </c:pt>
                <c:pt idx="189">
                  <c:v>1.4077550011999999E-2</c:v>
                </c:pt>
                <c:pt idx="190">
                  <c:v>1.1788826242E-2</c:v>
                </c:pt>
                <c:pt idx="191">
                  <c:v>1.0292301358E-2</c:v>
                </c:pt>
                <c:pt idx="192">
                  <c:v>9.5870206480000008E-3</c:v>
                </c:pt>
                <c:pt idx="193">
                  <c:v>1.6423923148000001E-2</c:v>
                </c:pt>
                <c:pt idx="194">
                  <c:v>1.6423357664E-2</c:v>
                </c:pt>
                <c:pt idx="195">
                  <c:v>1.5647226173E-2</c:v>
                </c:pt>
                <c:pt idx="196">
                  <c:v>1.7626691847000001E-2</c:v>
                </c:pt>
                <c:pt idx="197">
                  <c:v>1.1131725417000001E-2</c:v>
                </c:pt>
                <c:pt idx="198">
                  <c:v>1.1095700416E-2</c:v>
                </c:pt>
                <c:pt idx="199">
                  <c:v>1.1850501366999999E-2</c:v>
                </c:pt>
                <c:pt idx="200">
                  <c:v>7.5757575749999997E-3</c:v>
                </c:pt>
                <c:pt idx="201">
                  <c:v>1.9646365422E-2</c:v>
                </c:pt>
                <c:pt idx="202">
                  <c:v>2.3529411763999999E-2</c:v>
                </c:pt>
                <c:pt idx="203">
                  <c:v>1.2672381662E-2</c:v>
                </c:pt>
                <c:pt idx="204">
                  <c:v>9.529664924E-3</c:v>
                </c:pt>
                <c:pt idx="205">
                  <c:v>1.1299435028E-2</c:v>
                </c:pt>
                <c:pt idx="206">
                  <c:v>1.9210245463999999E-2</c:v>
                </c:pt>
                <c:pt idx="207">
                  <c:v>8.1163341219999997E-3</c:v>
                </c:pt>
                <c:pt idx="208">
                  <c:v>2.2013860578000002E-2</c:v>
                </c:pt>
                <c:pt idx="209">
                  <c:v>1.6921837227999999E-2</c:v>
                </c:pt>
                <c:pt idx="210">
                  <c:v>1.3636363635999999E-2</c:v>
                </c:pt>
                <c:pt idx="211">
                  <c:v>1.2179487179E-2</c:v>
                </c:pt>
                <c:pt idx="212">
                  <c:v>1.8563357546000001E-2</c:v>
                </c:pt>
                <c:pt idx="213">
                  <c:v>1.1223344555999999E-2</c:v>
                </c:pt>
                <c:pt idx="214">
                  <c:v>1.4519056261E-2</c:v>
                </c:pt>
                <c:pt idx="215">
                  <c:v>2.0654044749999999E-2</c:v>
                </c:pt>
                <c:pt idx="216">
                  <c:v>2.1409455841999998E-2</c:v>
                </c:pt>
                <c:pt idx="217">
                  <c:v>1.2969588549999999E-2</c:v>
                </c:pt>
                <c:pt idx="218">
                  <c:v>1.048584411E-2</c:v>
                </c:pt>
                <c:pt idx="219">
                  <c:v>2.4390243902000001E-2</c:v>
                </c:pt>
                <c:pt idx="220">
                  <c:v>1.6470588235E-2</c:v>
                </c:pt>
                <c:pt idx="221">
                  <c:v>1.5586255756000001E-2</c:v>
                </c:pt>
                <c:pt idx="222">
                  <c:v>2.6411657559000001E-2</c:v>
                </c:pt>
                <c:pt idx="223">
                  <c:v>2.5768911055E-2</c:v>
                </c:pt>
                <c:pt idx="224">
                  <c:v>1.6562220232000002E-2</c:v>
                </c:pt>
                <c:pt idx="225">
                  <c:v>1.2474849094E-2</c:v>
                </c:pt>
                <c:pt idx="226">
                  <c:v>2.5423728813E-2</c:v>
                </c:pt>
                <c:pt idx="227">
                  <c:v>1.1098779134E-2</c:v>
                </c:pt>
                <c:pt idx="228">
                  <c:v>1.4909090909E-2</c:v>
                </c:pt>
                <c:pt idx="229">
                  <c:v>1.7761989342E-2</c:v>
                </c:pt>
                <c:pt idx="230">
                  <c:v>2.1028914757E-2</c:v>
                </c:pt>
                <c:pt idx="231">
                  <c:v>3.4538805362999997E-2</c:v>
                </c:pt>
                <c:pt idx="232">
                  <c:v>2.3574144485999999E-2</c:v>
                </c:pt>
                <c:pt idx="233">
                  <c:v>2.5465230166E-2</c:v>
                </c:pt>
                <c:pt idx="234">
                  <c:v>3.3251231526999998E-2</c:v>
                </c:pt>
                <c:pt idx="235">
                  <c:v>2.6788432266999999E-2</c:v>
                </c:pt>
                <c:pt idx="236">
                  <c:v>3.9229181003999997E-2</c:v>
                </c:pt>
                <c:pt idx="237">
                  <c:v>2.9985007495999999E-2</c:v>
                </c:pt>
                <c:pt idx="238">
                  <c:v>3.8870431892999997E-2</c:v>
                </c:pt>
                <c:pt idx="239">
                  <c:v>3.0895334173999998E-2</c:v>
                </c:pt>
                <c:pt idx="240">
                  <c:v>3.9351851851E-2</c:v>
                </c:pt>
                <c:pt idx="241">
                  <c:v>2.9661016948999998E-2</c:v>
                </c:pt>
                <c:pt idx="242">
                  <c:v>2.8500276700999999E-2</c:v>
                </c:pt>
                <c:pt idx="243">
                  <c:v>3.7598544572000001E-2</c:v>
                </c:pt>
                <c:pt idx="244">
                  <c:v>2.9767167697999999E-2</c:v>
                </c:pt>
                <c:pt idx="245">
                  <c:v>3.8383838383000003E-2</c:v>
                </c:pt>
                <c:pt idx="246">
                  <c:v>3.2853651913999998E-2</c:v>
                </c:pt>
                <c:pt idx="247">
                  <c:v>3.4435261707000002E-2</c:v>
                </c:pt>
                <c:pt idx="248">
                  <c:v>2.8361344537E-2</c:v>
                </c:pt>
                <c:pt idx="249">
                  <c:v>2.685546875E-2</c:v>
                </c:pt>
                <c:pt idx="250">
                  <c:v>3.1691012625999999E-2</c:v>
                </c:pt>
                <c:pt idx="251">
                  <c:v>2.9179810725000001E-2</c:v>
                </c:pt>
                <c:pt idx="252">
                  <c:v>2.5703463203000002E-2</c:v>
                </c:pt>
                <c:pt idx="253">
                  <c:v>2.8735632183000001E-2</c:v>
                </c:pt>
                <c:pt idx="254">
                  <c:v>4.1339985744000003E-2</c:v>
                </c:pt>
                <c:pt idx="255">
                  <c:v>4.0404040404000002E-2</c:v>
                </c:pt>
                <c:pt idx="256">
                  <c:v>4.4835414301E-2</c:v>
                </c:pt>
                <c:pt idx="257">
                  <c:v>5.9094397543999998E-2</c:v>
                </c:pt>
                <c:pt idx="258">
                  <c:v>4.1196665031000002E-2</c:v>
                </c:pt>
                <c:pt idx="259">
                  <c:v>5.5555555554999997E-2</c:v>
                </c:pt>
                <c:pt idx="260">
                  <c:v>4.2652859959999997E-2</c:v>
                </c:pt>
                <c:pt idx="261">
                  <c:v>6.9589422407000001E-2</c:v>
                </c:pt>
                <c:pt idx="262">
                  <c:v>5.0534499513999999E-2</c:v>
                </c:pt>
                <c:pt idx="263">
                  <c:v>4.3599059628000002E-2</c:v>
                </c:pt>
                <c:pt idx="264">
                  <c:v>6.3005230622000002E-2</c:v>
                </c:pt>
                <c:pt idx="265">
                  <c:v>5.6921995783000001E-2</c:v>
                </c:pt>
                <c:pt idx="266">
                  <c:v>5.8731401721999997E-2</c:v>
                </c:pt>
                <c:pt idx="267">
                  <c:v>5.9802392094999997E-2</c:v>
                </c:pt>
                <c:pt idx="268">
                  <c:v>5.8781362007000001E-2</c:v>
                </c:pt>
                <c:pt idx="269">
                  <c:v>5.1282051282000002E-2</c:v>
                </c:pt>
                <c:pt idx="270">
                  <c:v>6.3066863530000003E-2</c:v>
                </c:pt>
                <c:pt idx="271">
                  <c:v>7.6284496297000001E-2</c:v>
                </c:pt>
                <c:pt idx="272">
                  <c:v>7.3249696478999995E-2</c:v>
                </c:pt>
                <c:pt idx="273">
                  <c:v>7.5391180653999995E-2</c:v>
                </c:pt>
                <c:pt idx="274">
                  <c:v>8.0675422137999997E-2</c:v>
                </c:pt>
                <c:pt idx="275">
                  <c:v>9.8936170212000005E-2</c:v>
                </c:pt>
                <c:pt idx="276">
                  <c:v>9.3158660843999999E-2</c:v>
                </c:pt>
                <c:pt idx="277">
                  <c:v>0.10448707785</c:v>
                </c:pt>
                <c:pt idx="278">
                  <c:v>0.127201897018</c:v>
                </c:pt>
                <c:pt idx="279">
                  <c:v>0.12157955104</c:v>
                </c:pt>
                <c:pt idx="280">
                  <c:v>0.13673469387699999</c:v>
                </c:pt>
                <c:pt idx="281">
                  <c:v>0.151644157369</c:v>
                </c:pt>
                <c:pt idx="282">
                  <c:v>0.16622491480400001</c:v>
                </c:pt>
                <c:pt idx="283">
                  <c:v>0.16379310344799999</c:v>
                </c:pt>
                <c:pt idx="284">
                  <c:v>0.144601297214</c:v>
                </c:pt>
                <c:pt idx="285">
                  <c:v>0.1904296875</c:v>
                </c:pt>
                <c:pt idx="286">
                  <c:v>0.19916634101799999</c:v>
                </c:pt>
                <c:pt idx="287">
                  <c:v>0.25951341235100001</c:v>
                </c:pt>
                <c:pt idx="288">
                  <c:v>0.203896816684</c:v>
                </c:pt>
                <c:pt idx="289">
                  <c:v>0.25456621004500002</c:v>
                </c:pt>
                <c:pt idx="290">
                  <c:v>0.16151468315299999</c:v>
                </c:pt>
                <c:pt idx="291">
                  <c:v>0.21334943083800001</c:v>
                </c:pt>
                <c:pt idx="292">
                  <c:v>0.27846853677</c:v>
                </c:pt>
                <c:pt idx="293">
                  <c:v>0.30581180811800002</c:v>
                </c:pt>
                <c:pt idx="294">
                  <c:v>0.28440580610100002</c:v>
                </c:pt>
                <c:pt idx="295">
                  <c:v>0.292398513227</c:v>
                </c:pt>
                <c:pt idx="296">
                  <c:v>0.28889958293200002</c:v>
                </c:pt>
                <c:pt idx="297">
                  <c:v>0.245088566827</c:v>
                </c:pt>
                <c:pt idx="298">
                  <c:v>0.25079108102100001</c:v>
                </c:pt>
                <c:pt idx="299">
                  <c:v>0.33614697120100001</c:v>
                </c:pt>
                <c:pt idx="300">
                  <c:v>0.33703750473499999</c:v>
                </c:pt>
                <c:pt idx="301">
                  <c:v>0.28099393777800002</c:v>
                </c:pt>
                <c:pt idx="302">
                  <c:v>0.348395587866</c:v>
                </c:pt>
                <c:pt idx="303">
                  <c:v>0.38322025052100001</c:v>
                </c:pt>
                <c:pt idx="304">
                  <c:v>0.30965471739599998</c:v>
                </c:pt>
                <c:pt idx="305">
                  <c:v>0.25535748761100002</c:v>
                </c:pt>
                <c:pt idx="306">
                  <c:v>0.39323561453799999</c:v>
                </c:pt>
                <c:pt idx="307">
                  <c:v>0.43158828748799999</c:v>
                </c:pt>
                <c:pt idx="308">
                  <c:v>0.305517920926</c:v>
                </c:pt>
                <c:pt idx="309">
                  <c:v>0.417818097231</c:v>
                </c:pt>
                <c:pt idx="310">
                  <c:v>0.40974743806899999</c:v>
                </c:pt>
                <c:pt idx="311">
                  <c:v>0.363484367162</c:v>
                </c:pt>
                <c:pt idx="312">
                  <c:v>0.283911313246</c:v>
                </c:pt>
                <c:pt idx="313">
                  <c:v>0.39351754790499999</c:v>
                </c:pt>
                <c:pt idx="314">
                  <c:v>0.28569151691400002</c:v>
                </c:pt>
                <c:pt idx="315">
                  <c:v>0.48451626992699998</c:v>
                </c:pt>
                <c:pt idx="316">
                  <c:v>0.38282548476400002</c:v>
                </c:pt>
                <c:pt idx="317">
                  <c:v>0.376045296167</c:v>
                </c:pt>
                <c:pt idx="318">
                  <c:v>0.37435272616499998</c:v>
                </c:pt>
                <c:pt idx="319">
                  <c:v>0.31777588773100002</c:v>
                </c:pt>
                <c:pt idx="320">
                  <c:v>0.35744297719000001</c:v>
                </c:pt>
                <c:pt idx="321">
                  <c:v>0.36842337570599998</c:v>
                </c:pt>
                <c:pt idx="322">
                  <c:v>0.35942226993199999</c:v>
                </c:pt>
                <c:pt idx="323">
                  <c:v>0.35396408910799998</c:v>
                </c:pt>
                <c:pt idx="324">
                  <c:v>0.34446450060099998</c:v>
                </c:pt>
                <c:pt idx="325">
                  <c:v>0.28484721640799998</c:v>
                </c:pt>
                <c:pt idx="326">
                  <c:v>0.305622540931</c:v>
                </c:pt>
                <c:pt idx="327">
                  <c:v>0.34753998785099999</c:v>
                </c:pt>
                <c:pt idx="328">
                  <c:v>0.34037813445999998</c:v>
                </c:pt>
                <c:pt idx="329">
                  <c:v>0.32355694227699999</c:v>
                </c:pt>
                <c:pt idx="330">
                  <c:v>0.30726218417700002</c:v>
                </c:pt>
                <c:pt idx="331">
                  <c:v>0.32240286580299998</c:v>
                </c:pt>
                <c:pt idx="332">
                  <c:v>0.22743885296499999</c:v>
                </c:pt>
                <c:pt idx="333">
                  <c:v>0.25765615524500002</c:v>
                </c:pt>
                <c:pt idx="334">
                  <c:v>0.327071290944</c:v>
                </c:pt>
                <c:pt idx="335">
                  <c:v>0.28402625820499999</c:v>
                </c:pt>
                <c:pt idx="336">
                  <c:v>0.26087308003199999</c:v>
                </c:pt>
                <c:pt idx="337">
                  <c:v>0.256128702757</c:v>
                </c:pt>
                <c:pt idx="338">
                  <c:v>0.26259599175800002</c:v>
                </c:pt>
                <c:pt idx="339">
                  <c:v>0.17120622567999999</c:v>
                </c:pt>
                <c:pt idx="340">
                  <c:v>0.21240338951400001</c:v>
                </c:pt>
                <c:pt idx="341">
                  <c:v>0.28540092615099999</c:v>
                </c:pt>
                <c:pt idx="342">
                  <c:v>0.22423044337699999</c:v>
                </c:pt>
                <c:pt idx="343">
                  <c:v>0.233835960703</c:v>
                </c:pt>
                <c:pt idx="344">
                  <c:v>0.20106524633799999</c:v>
                </c:pt>
                <c:pt idx="345">
                  <c:v>0.15534491837799999</c:v>
                </c:pt>
                <c:pt idx="346">
                  <c:v>0.14754098360599999</c:v>
                </c:pt>
                <c:pt idx="347">
                  <c:v>0.210056497175</c:v>
                </c:pt>
                <c:pt idx="348">
                  <c:v>0.26673267326700001</c:v>
                </c:pt>
                <c:pt idx="349">
                  <c:v>0.22982538933400001</c:v>
                </c:pt>
                <c:pt idx="350">
                  <c:v>0.24865573770400001</c:v>
                </c:pt>
                <c:pt idx="351">
                  <c:v>0.24484848484800001</c:v>
                </c:pt>
                <c:pt idx="352">
                  <c:v>0.20033670033600001</c:v>
                </c:pt>
                <c:pt idx="353">
                  <c:v>0.114764667956</c:v>
                </c:pt>
                <c:pt idx="354">
                  <c:v>0.187558980811</c:v>
                </c:pt>
                <c:pt idx="355">
                  <c:v>0.22888984140499999</c:v>
                </c:pt>
                <c:pt idx="356">
                  <c:v>0.208920985556</c:v>
                </c:pt>
                <c:pt idx="357">
                  <c:v>0.178987951807</c:v>
                </c:pt>
                <c:pt idx="358">
                  <c:v>0.17899880335000001</c:v>
                </c:pt>
                <c:pt idx="359">
                  <c:v>0.187514292247</c:v>
                </c:pt>
                <c:pt idx="360">
                  <c:v>0.12582538517899999</c:v>
                </c:pt>
                <c:pt idx="361">
                  <c:v>0.160396039603</c:v>
                </c:pt>
                <c:pt idx="362">
                  <c:v>0.22964224872200001</c:v>
                </c:pt>
                <c:pt idx="363">
                  <c:v>0.239142236699</c:v>
                </c:pt>
                <c:pt idx="364">
                  <c:v>0.24686716791900001</c:v>
                </c:pt>
                <c:pt idx="365">
                  <c:v>0.25780202092400001</c:v>
                </c:pt>
                <c:pt idx="366">
                  <c:v>0.27925025626</c:v>
                </c:pt>
                <c:pt idx="367">
                  <c:v>0.24120603015</c:v>
                </c:pt>
                <c:pt idx="368">
                  <c:v>0.272261370916</c:v>
                </c:pt>
                <c:pt idx="369">
                  <c:v>0.34807807971999999</c:v>
                </c:pt>
                <c:pt idx="370">
                  <c:v>0.35058016877600001</c:v>
                </c:pt>
                <c:pt idx="371">
                  <c:v>0.36070894945600002</c:v>
                </c:pt>
                <c:pt idx="372">
                  <c:v>0.35802833530099998</c:v>
                </c:pt>
                <c:pt idx="373">
                  <c:v>0.36495078825799998</c:v>
                </c:pt>
                <c:pt idx="374">
                  <c:v>0.355932203389</c:v>
                </c:pt>
                <c:pt idx="375">
                  <c:v>0.32759877533100001</c:v>
                </c:pt>
                <c:pt idx="376">
                  <c:v>0.35780044787199999</c:v>
                </c:pt>
                <c:pt idx="377">
                  <c:v>0.47635312664200002</c:v>
                </c:pt>
                <c:pt idx="378">
                  <c:v>0.35719147777499999</c:v>
                </c:pt>
                <c:pt idx="379">
                  <c:v>0.46237950443100001</c:v>
                </c:pt>
                <c:pt idx="380">
                  <c:v>0.28276071754299997</c:v>
                </c:pt>
                <c:pt idx="381">
                  <c:v>0.59393939393899997</c:v>
                </c:pt>
                <c:pt idx="382">
                  <c:v>0.325087593397</c:v>
                </c:pt>
                <c:pt idx="383">
                  <c:v>0.46621988770099998</c:v>
                </c:pt>
                <c:pt idx="384">
                  <c:v>0.42788777329400002</c:v>
                </c:pt>
                <c:pt idx="385">
                  <c:v>0.41330558583499999</c:v>
                </c:pt>
                <c:pt idx="386">
                  <c:v>0.373133176397</c:v>
                </c:pt>
                <c:pt idx="387">
                  <c:v>0.54760378265700005</c:v>
                </c:pt>
                <c:pt idx="388">
                  <c:v>0.32344793873200001</c:v>
                </c:pt>
                <c:pt idx="389">
                  <c:v>0.37732107445399998</c:v>
                </c:pt>
                <c:pt idx="390">
                  <c:v>0.42688687750100002</c:v>
                </c:pt>
                <c:pt idx="391">
                  <c:v>0.43055963110399997</c:v>
                </c:pt>
                <c:pt idx="392">
                  <c:v>0.40080369102500002</c:v>
                </c:pt>
                <c:pt idx="393">
                  <c:v>0.40958832725299998</c:v>
                </c:pt>
                <c:pt idx="394">
                  <c:v>0.39472688280500001</c:v>
                </c:pt>
                <c:pt idx="395">
                  <c:v>0.31041890440300002</c:v>
                </c:pt>
                <c:pt idx="396">
                  <c:v>0.33704719780499998</c:v>
                </c:pt>
                <c:pt idx="397">
                  <c:v>0.42839834102199997</c:v>
                </c:pt>
                <c:pt idx="398">
                  <c:v>0.37133202916500002</c:v>
                </c:pt>
                <c:pt idx="399">
                  <c:v>0.36773520979899998</c:v>
                </c:pt>
                <c:pt idx="400">
                  <c:v>0.35806336774600001</c:v>
                </c:pt>
                <c:pt idx="401">
                  <c:v>0.35636528575699999</c:v>
                </c:pt>
                <c:pt idx="402">
                  <c:v>0.26722734671699999</c:v>
                </c:pt>
                <c:pt idx="403">
                  <c:v>0.337710688418</c:v>
                </c:pt>
                <c:pt idx="404">
                  <c:v>0.376839854069</c:v>
                </c:pt>
                <c:pt idx="405">
                  <c:v>0.36021956239899999</c:v>
                </c:pt>
                <c:pt idx="406">
                  <c:v>0.35643150054299999</c:v>
                </c:pt>
                <c:pt idx="407">
                  <c:v>0.344169109157</c:v>
                </c:pt>
                <c:pt idx="408">
                  <c:v>0.334022323274</c:v>
                </c:pt>
                <c:pt idx="409">
                  <c:v>0.27343223196200001</c:v>
                </c:pt>
                <c:pt idx="410">
                  <c:v>0.32234516674300001</c:v>
                </c:pt>
                <c:pt idx="411">
                  <c:v>0.37592061400100002</c:v>
                </c:pt>
                <c:pt idx="412">
                  <c:v>0.36183192206100001</c:v>
                </c:pt>
                <c:pt idx="413">
                  <c:v>0.34859327516900002</c:v>
                </c:pt>
                <c:pt idx="414">
                  <c:v>0.34589800443399998</c:v>
                </c:pt>
                <c:pt idx="415">
                  <c:v>0.34502235820100002</c:v>
                </c:pt>
                <c:pt idx="416">
                  <c:v>0.25469571750499997</c:v>
                </c:pt>
                <c:pt idx="417">
                  <c:v>0.34517238620899998</c:v>
                </c:pt>
                <c:pt idx="418">
                  <c:v>0.38206954335900001</c:v>
                </c:pt>
                <c:pt idx="419">
                  <c:v>0.36765518511599998</c:v>
                </c:pt>
                <c:pt idx="420">
                  <c:v>0.36883589328999999</c:v>
                </c:pt>
                <c:pt idx="421">
                  <c:v>0.37986386264299998</c:v>
                </c:pt>
                <c:pt idx="422">
                  <c:v>0.36094527363099999</c:v>
                </c:pt>
                <c:pt idx="423">
                  <c:v>0.29178245335399999</c:v>
                </c:pt>
                <c:pt idx="424">
                  <c:v>0.35343575632500002</c:v>
                </c:pt>
                <c:pt idx="425">
                  <c:v>0.37644323284100001</c:v>
                </c:pt>
                <c:pt idx="426">
                  <c:v>0.35087089244000003</c:v>
                </c:pt>
                <c:pt idx="427">
                  <c:v>0.35925319988400001</c:v>
                </c:pt>
                <c:pt idx="428">
                  <c:v>0.36804688250500001</c:v>
                </c:pt>
                <c:pt idx="429">
                  <c:v>0.37236596425700003</c:v>
                </c:pt>
                <c:pt idx="430">
                  <c:v>0.27299957209999998</c:v>
                </c:pt>
                <c:pt idx="431">
                  <c:v>0.33584846341199998</c:v>
                </c:pt>
                <c:pt idx="432">
                  <c:v>0.37038216560499998</c:v>
                </c:pt>
                <c:pt idx="433">
                  <c:v>0.34301963920700002</c:v>
                </c:pt>
                <c:pt idx="434">
                  <c:v>0.34391912590599999</c:v>
                </c:pt>
                <c:pt idx="435">
                  <c:v>0.354992548435</c:v>
                </c:pt>
                <c:pt idx="436">
                  <c:v>0.330829240104</c:v>
                </c:pt>
                <c:pt idx="437">
                  <c:v>0.28747714808000002</c:v>
                </c:pt>
                <c:pt idx="438">
                  <c:v>0.318582612278</c:v>
                </c:pt>
                <c:pt idx="439">
                  <c:v>0.32780082987499998</c:v>
                </c:pt>
                <c:pt idx="440">
                  <c:v>0.31412587412499998</c:v>
                </c:pt>
                <c:pt idx="441">
                  <c:v>0.31453408247600001</c:v>
                </c:pt>
                <c:pt idx="442">
                  <c:v>0.31379427407400001</c:v>
                </c:pt>
                <c:pt idx="443">
                  <c:v>0.27868338557900002</c:v>
                </c:pt>
                <c:pt idx="444">
                  <c:v>0.231720430107</c:v>
                </c:pt>
                <c:pt idx="445">
                  <c:v>0.28164206642</c:v>
                </c:pt>
                <c:pt idx="446">
                  <c:v>0.30340399510799998</c:v>
                </c:pt>
                <c:pt idx="447">
                  <c:v>0.28357368183800002</c:v>
                </c:pt>
                <c:pt idx="448">
                  <c:v>0.300548589340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7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85:$A$554</c:f>
              <c:numCache>
                <c:formatCode>m/d/yyyy</c:formatCode>
                <c:ptCount val="470"/>
                <c:pt idx="0">
                  <c:v>44189</c:v>
                </c:pt>
                <c:pt idx="1">
                  <c:v>44190</c:v>
                </c:pt>
                <c:pt idx="2">
                  <c:v>44191</c:v>
                </c:pt>
                <c:pt idx="3">
                  <c:v>44192</c:v>
                </c:pt>
                <c:pt idx="4">
                  <c:v>44193</c:v>
                </c:pt>
                <c:pt idx="5">
                  <c:v>44194</c:v>
                </c:pt>
                <c:pt idx="6">
                  <c:v>44195</c:v>
                </c:pt>
                <c:pt idx="7">
                  <c:v>44196</c:v>
                </c:pt>
                <c:pt idx="8">
                  <c:v>44197</c:v>
                </c:pt>
                <c:pt idx="9">
                  <c:v>44198</c:v>
                </c:pt>
                <c:pt idx="10">
                  <c:v>44199</c:v>
                </c:pt>
                <c:pt idx="11">
                  <c:v>44200</c:v>
                </c:pt>
                <c:pt idx="12">
                  <c:v>44201</c:v>
                </c:pt>
                <c:pt idx="13">
                  <c:v>44202</c:v>
                </c:pt>
                <c:pt idx="14">
                  <c:v>44203</c:v>
                </c:pt>
                <c:pt idx="15">
                  <c:v>44204</c:v>
                </c:pt>
                <c:pt idx="16">
                  <c:v>44205</c:v>
                </c:pt>
                <c:pt idx="17">
                  <c:v>44206</c:v>
                </c:pt>
                <c:pt idx="18">
                  <c:v>44207</c:v>
                </c:pt>
                <c:pt idx="19">
                  <c:v>44208</c:v>
                </c:pt>
                <c:pt idx="20">
                  <c:v>44209</c:v>
                </c:pt>
                <c:pt idx="21">
                  <c:v>44210</c:v>
                </c:pt>
                <c:pt idx="22">
                  <c:v>44211</c:v>
                </c:pt>
                <c:pt idx="23">
                  <c:v>44212</c:v>
                </c:pt>
                <c:pt idx="24">
                  <c:v>44213</c:v>
                </c:pt>
                <c:pt idx="25">
                  <c:v>44214</c:v>
                </c:pt>
                <c:pt idx="26">
                  <c:v>44215</c:v>
                </c:pt>
                <c:pt idx="27">
                  <c:v>44216</c:v>
                </c:pt>
                <c:pt idx="28">
                  <c:v>44217</c:v>
                </c:pt>
                <c:pt idx="29">
                  <c:v>44218</c:v>
                </c:pt>
                <c:pt idx="30">
                  <c:v>44219</c:v>
                </c:pt>
                <c:pt idx="31">
                  <c:v>44220</c:v>
                </c:pt>
                <c:pt idx="32">
                  <c:v>44221</c:v>
                </c:pt>
                <c:pt idx="33">
                  <c:v>44222</c:v>
                </c:pt>
                <c:pt idx="34">
                  <c:v>44223</c:v>
                </c:pt>
                <c:pt idx="35">
                  <c:v>44224</c:v>
                </c:pt>
                <c:pt idx="36">
                  <c:v>44225</c:v>
                </c:pt>
                <c:pt idx="37">
                  <c:v>44226</c:v>
                </c:pt>
                <c:pt idx="38">
                  <c:v>44227</c:v>
                </c:pt>
                <c:pt idx="39">
                  <c:v>44228</c:v>
                </c:pt>
                <c:pt idx="40">
                  <c:v>44229</c:v>
                </c:pt>
                <c:pt idx="41">
                  <c:v>44230</c:v>
                </c:pt>
                <c:pt idx="42">
                  <c:v>44231</c:v>
                </c:pt>
                <c:pt idx="43">
                  <c:v>44232</c:v>
                </c:pt>
                <c:pt idx="44">
                  <c:v>44233</c:v>
                </c:pt>
                <c:pt idx="45">
                  <c:v>44234</c:v>
                </c:pt>
                <c:pt idx="46">
                  <c:v>44235</c:v>
                </c:pt>
                <c:pt idx="47">
                  <c:v>44236</c:v>
                </c:pt>
                <c:pt idx="48">
                  <c:v>44237</c:v>
                </c:pt>
                <c:pt idx="49">
                  <c:v>44238</c:v>
                </c:pt>
                <c:pt idx="50">
                  <c:v>44239</c:v>
                </c:pt>
                <c:pt idx="51">
                  <c:v>44240</c:v>
                </c:pt>
                <c:pt idx="52">
                  <c:v>44241</c:v>
                </c:pt>
                <c:pt idx="53">
                  <c:v>44242</c:v>
                </c:pt>
                <c:pt idx="54">
                  <c:v>44243</c:v>
                </c:pt>
                <c:pt idx="55">
                  <c:v>44244</c:v>
                </c:pt>
                <c:pt idx="56">
                  <c:v>44245</c:v>
                </c:pt>
                <c:pt idx="57">
                  <c:v>44246</c:v>
                </c:pt>
                <c:pt idx="58">
                  <c:v>44247</c:v>
                </c:pt>
                <c:pt idx="59">
                  <c:v>44248</c:v>
                </c:pt>
                <c:pt idx="60">
                  <c:v>44249</c:v>
                </c:pt>
                <c:pt idx="61">
                  <c:v>44250</c:v>
                </c:pt>
                <c:pt idx="62">
                  <c:v>44251</c:v>
                </c:pt>
                <c:pt idx="63">
                  <c:v>44252</c:v>
                </c:pt>
                <c:pt idx="64">
                  <c:v>44253</c:v>
                </c:pt>
                <c:pt idx="65">
                  <c:v>44254</c:v>
                </c:pt>
                <c:pt idx="66">
                  <c:v>44255</c:v>
                </c:pt>
                <c:pt idx="67">
                  <c:v>44256</c:v>
                </c:pt>
                <c:pt idx="68">
                  <c:v>44257</c:v>
                </c:pt>
                <c:pt idx="69">
                  <c:v>44258</c:v>
                </c:pt>
                <c:pt idx="70">
                  <c:v>44259</c:v>
                </c:pt>
                <c:pt idx="71">
                  <c:v>44260</c:v>
                </c:pt>
                <c:pt idx="72">
                  <c:v>44261</c:v>
                </c:pt>
                <c:pt idx="73">
                  <c:v>44262</c:v>
                </c:pt>
                <c:pt idx="74">
                  <c:v>44263</c:v>
                </c:pt>
                <c:pt idx="75">
                  <c:v>44264</c:v>
                </c:pt>
                <c:pt idx="76">
                  <c:v>44265</c:v>
                </c:pt>
                <c:pt idx="77">
                  <c:v>44266</c:v>
                </c:pt>
                <c:pt idx="78">
                  <c:v>44267</c:v>
                </c:pt>
                <c:pt idx="79">
                  <c:v>44268</c:v>
                </c:pt>
                <c:pt idx="80">
                  <c:v>44269</c:v>
                </c:pt>
                <c:pt idx="81">
                  <c:v>44270</c:v>
                </c:pt>
                <c:pt idx="82">
                  <c:v>44271</c:v>
                </c:pt>
                <c:pt idx="83">
                  <c:v>44272</c:v>
                </c:pt>
                <c:pt idx="84">
                  <c:v>44273</c:v>
                </c:pt>
                <c:pt idx="85">
                  <c:v>44274</c:v>
                </c:pt>
                <c:pt idx="86">
                  <c:v>44275</c:v>
                </c:pt>
                <c:pt idx="87">
                  <c:v>44276</c:v>
                </c:pt>
                <c:pt idx="88">
                  <c:v>44277</c:v>
                </c:pt>
                <c:pt idx="89">
                  <c:v>44278</c:v>
                </c:pt>
                <c:pt idx="90">
                  <c:v>44279</c:v>
                </c:pt>
                <c:pt idx="91">
                  <c:v>44280</c:v>
                </c:pt>
                <c:pt idx="92">
                  <c:v>44281</c:v>
                </c:pt>
                <c:pt idx="93">
                  <c:v>44282</c:v>
                </c:pt>
                <c:pt idx="94">
                  <c:v>44283</c:v>
                </c:pt>
                <c:pt idx="95">
                  <c:v>44284</c:v>
                </c:pt>
                <c:pt idx="96">
                  <c:v>44285</c:v>
                </c:pt>
                <c:pt idx="97">
                  <c:v>44286</c:v>
                </c:pt>
                <c:pt idx="98">
                  <c:v>44287</c:v>
                </c:pt>
                <c:pt idx="99">
                  <c:v>44288</c:v>
                </c:pt>
                <c:pt idx="100">
                  <c:v>44289</c:v>
                </c:pt>
                <c:pt idx="101">
                  <c:v>44290</c:v>
                </c:pt>
                <c:pt idx="102">
                  <c:v>44291</c:v>
                </c:pt>
                <c:pt idx="103">
                  <c:v>44292</c:v>
                </c:pt>
                <c:pt idx="104">
                  <c:v>44293</c:v>
                </c:pt>
                <c:pt idx="105">
                  <c:v>44294</c:v>
                </c:pt>
                <c:pt idx="106">
                  <c:v>44295</c:v>
                </c:pt>
                <c:pt idx="107">
                  <c:v>44296</c:v>
                </c:pt>
                <c:pt idx="108">
                  <c:v>44297</c:v>
                </c:pt>
                <c:pt idx="109">
                  <c:v>44298</c:v>
                </c:pt>
                <c:pt idx="110">
                  <c:v>44299</c:v>
                </c:pt>
                <c:pt idx="111">
                  <c:v>44300</c:v>
                </c:pt>
                <c:pt idx="112">
                  <c:v>44301</c:v>
                </c:pt>
                <c:pt idx="113">
                  <c:v>44302</c:v>
                </c:pt>
                <c:pt idx="114">
                  <c:v>44303</c:v>
                </c:pt>
                <c:pt idx="115">
                  <c:v>44304</c:v>
                </c:pt>
                <c:pt idx="116">
                  <c:v>44305</c:v>
                </c:pt>
                <c:pt idx="117">
                  <c:v>44306</c:v>
                </c:pt>
                <c:pt idx="118">
                  <c:v>44307</c:v>
                </c:pt>
                <c:pt idx="119">
                  <c:v>44308</c:v>
                </c:pt>
                <c:pt idx="120">
                  <c:v>44309</c:v>
                </c:pt>
                <c:pt idx="121">
                  <c:v>44310</c:v>
                </c:pt>
                <c:pt idx="122">
                  <c:v>44311</c:v>
                </c:pt>
                <c:pt idx="123">
                  <c:v>44312</c:v>
                </c:pt>
                <c:pt idx="124">
                  <c:v>44313</c:v>
                </c:pt>
                <c:pt idx="125">
                  <c:v>44314</c:v>
                </c:pt>
                <c:pt idx="126">
                  <c:v>44315</c:v>
                </c:pt>
                <c:pt idx="127">
                  <c:v>44316</c:v>
                </c:pt>
                <c:pt idx="128">
                  <c:v>44317</c:v>
                </c:pt>
                <c:pt idx="129">
                  <c:v>44318</c:v>
                </c:pt>
                <c:pt idx="130">
                  <c:v>44319</c:v>
                </c:pt>
                <c:pt idx="131">
                  <c:v>44320</c:v>
                </c:pt>
                <c:pt idx="132">
                  <c:v>44321</c:v>
                </c:pt>
                <c:pt idx="133">
                  <c:v>44322</c:v>
                </c:pt>
                <c:pt idx="134">
                  <c:v>44323</c:v>
                </c:pt>
                <c:pt idx="135">
                  <c:v>44324</c:v>
                </c:pt>
                <c:pt idx="136">
                  <c:v>44325</c:v>
                </c:pt>
                <c:pt idx="137">
                  <c:v>44326</c:v>
                </c:pt>
                <c:pt idx="138">
                  <c:v>44327</c:v>
                </c:pt>
                <c:pt idx="139">
                  <c:v>44328</c:v>
                </c:pt>
                <c:pt idx="140">
                  <c:v>44329</c:v>
                </c:pt>
                <c:pt idx="141">
                  <c:v>44330</c:v>
                </c:pt>
                <c:pt idx="142">
                  <c:v>44331</c:v>
                </c:pt>
                <c:pt idx="143">
                  <c:v>44332</c:v>
                </c:pt>
                <c:pt idx="144">
                  <c:v>44333</c:v>
                </c:pt>
                <c:pt idx="145">
                  <c:v>44334</c:v>
                </c:pt>
                <c:pt idx="146">
                  <c:v>44335</c:v>
                </c:pt>
                <c:pt idx="147">
                  <c:v>44336</c:v>
                </c:pt>
                <c:pt idx="148">
                  <c:v>44337</c:v>
                </c:pt>
                <c:pt idx="149">
                  <c:v>44338</c:v>
                </c:pt>
                <c:pt idx="150">
                  <c:v>44339</c:v>
                </c:pt>
                <c:pt idx="151">
                  <c:v>44340</c:v>
                </c:pt>
                <c:pt idx="152">
                  <c:v>44341</c:v>
                </c:pt>
                <c:pt idx="153">
                  <c:v>44342</c:v>
                </c:pt>
                <c:pt idx="154">
                  <c:v>44343</c:v>
                </c:pt>
                <c:pt idx="155">
                  <c:v>44344</c:v>
                </c:pt>
                <c:pt idx="156">
                  <c:v>44345</c:v>
                </c:pt>
                <c:pt idx="157">
                  <c:v>44346</c:v>
                </c:pt>
                <c:pt idx="158">
                  <c:v>44347</c:v>
                </c:pt>
                <c:pt idx="159">
                  <c:v>44348</c:v>
                </c:pt>
                <c:pt idx="160">
                  <c:v>44349</c:v>
                </c:pt>
                <c:pt idx="161">
                  <c:v>44350</c:v>
                </c:pt>
                <c:pt idx="162">
                  <c:v>44351</c:v>
                </c:pt>
                <c:pt idx="163">
                  <c:v>44352</c:v>
                </c:pt>
                <c:pt idx="164">
                  <c:v>44353</c:v>
                </c:pt>
                <c:pt idx="165">
                  <c:v>44354</c:v>
                </c:pt>
                <c:pt idx="166">
                  <c:v>44355</c:v>
                </c:pt>
                <c:pt idx="167">
                  <c:v>44356</c:v>
                </c:pt>
                <c:pt idx="168">
                  <c:v>44357</c:v>
                </c:pt>
                <c:pt idx="169">
                  <c:v>44358</c:v>
                </c:pt>
                <c:pt idx="170">
                  <c:v>44359</c:v>
                </c:pt>
                <c:pt idx="171">
                  <c:v>44360</c:v>
                </c:pt>
                <c:pt idx="172">
                  <c:v>44361</c:v>
                </c:pt>
                <c:pt idx="173">
                  <c:v>44362</c:v>
                </c:pt>
                <c:pt idx="174">
                  <c:v>44363</c:v>
                </c:pt>
                <c:pt idx="175">
                  <c:v>44364</c:v>
                </c:pt>
                <c:pt idx="176">
                  <c:v>44365</c:v>
                </c:pt>
                <c:pt idx="177">
                  <c:v>44366</c:v>
                </c:pt>
                <c:pt idx="178">
                  <c:v>44367</c:v>
                </c:pt>
                <c:pt idx="179">
                  <c:v>44368</c:v>
                </c:pt>
                <c:pt idx="180">
                  <c:v>44369</c:v>
                </c:pt>
                <c:pt idx="181">
                  <c:v>44370</c:v>
                </c:pt>
                <c:pt idx="182">
                  <c:v>44371</c:v>
                </c:pt>
                <c:pt idx="183">
                  <c:v>44372</c:v>
                </c:pt>
                <c:pt idx="184">
                  <c:v>44373</c:v>
                </c:pt>
                <c:pt idx="185">
                  <c:v>44374</c:v>
                </c:pt>
                <c:pt idx="186">
                  <c:v>44375</c:v>
                </c:pt>
                <c:pt idx="187">
                  <c:v>44376</c:v>
                </c:pt>
                <c:pt idx="188">
                  <c:v>44377</c:v>
                </c:pt>
                <c:pt idx="189">
                  <c:v>44378</c:v>
                </c:pt>
                <c:pt idx="190">
                  <c:v>44379</c:v>
                </c:pt>
                <c:pt idx="191">
                  <c:v>44380</c:v>
                </c:pt>
                <c:pt idx="192">
                  <c:v>44381</c:v>
                </c:pt>
                <c:pt idx="193">
                  <c:v>44382</c:v>
                </c:pt>
                <c:pt idx="194">
                  <c:v>44383</c:v>
                </c:pt>
                <c:pt idx="195">
                  <c:v>44384</c:v>
                </c:pt>
                <c:pt idx="196">
                  <c:v>44385</c:v>
                </c:pt>
                <c:pt idx="197">
                  <c:v>44386</c:v>
                </c:pt>
                <c:pt idx="198">
                  <c:v>44387</c:v>
                </c:pt>
                <c:pt idx="199">
                  <c:v>44388</c:v>
                </c:pt>
                <c:pt idx="200">
                  <c:v>44389</c:v>
                </c:pt>
                <c:pt idx="201">
                  <c:v>44390</c:v>
                </c:pt>
                <c:pt idx="202">
                  <c:v>44391</c:v>
                </c:pt>
                <c:pt idx="203">
                  <c:v>44392</c:v>
                </c:pt>
                <c:pt idx="204">
                  <c:v>44393</c:v>
                </c:pt>
                <c:pt idx="205">
                  <c:v>44394</c:v>
                </c:pt>
                <c:pt idx="206">
                  <c:v>44395</c:v>
                </c:pt>
                <c:pt idx="207">
                  <c:v>44396</c:v>
                </c:pt>
                <c:pt idx="208">
                  <c:v>44397</c:v>
                </c:pt>
                <c:pt idx="209">
                  <c:v>44398</c:v>
                </c:pt>
                <c:pt idx="210">
                  <c:v>44399</c:v>
                </c:pt>
                <c:pt idx="211">
                  <c:v>44400</c:v>
                </c:pt>
                <c:pt idx="212">
                  <c:v>44401</c:v>
                </c:pt>
                <c:pt idx="213">
                  <c:v>44402</c:v>
                </c:pt>
                <c:pt idx="214">
                  <c:v>44403</c:v>
                </c:pt>
                <c:pt idx="215">
                  <c:v>44404</c:v>
                </c:pt>
                <c:pt idx="216">
                  <c:v>44405</c:v>
                </c:pt>
                <c:pt idx="217">
                  <c:v>44406</c:v>
                </c:pt>
                <c:pt idx="218">
                  <c:v>44407</c:v>
                </c:pt>
                <c:pt idx="219">
                  <c:v>44408</c:v>
                </c:pt>
                <c:pt idx="220">
                  <c:v>44409</c:v>
                </c:pt>
                <c:pt idx="221">
                  <c:v>44410</c:v>
                </c:pt>
                <c:pt idx="222">
                  <c:v>44411</c:v>
                </c:pt>
                <c:pt idx="223">
                  <c:v>44412</c:v>
                </c:pt>
                <c:pt idx="224">
                  <c:v>44413</c:v>
                </c:pt>
                <c:pt idx="225">
                  <c:v>44414</c:v>
                </c:pt>
                <c:pt idx="226">
                  <c:v>44415</c:v>
                </c:pt>
                <c:pt idx="227">
                  <c:v>44416</c:v>
                </c:pt>
                <c:pt idx="228">
                  <c:v>44417</c:v>
                </c:pt>
                <c:pt idx="229">
                  <c:v>44418</c:v>
                </c:pt>
                <c:pt idx="230">
                  <c:v>44419</c:v>
                </c:pt>
                <c:pt idx="231">
                  <c:v>44420</c:v>
                </c:pt>
                <c:pt idx="232">
                  <c:v>44421</c:v>
                </c:pt>
                <c:pt idx="233">
                  <c:v>44422</c:v>
                </c:pt>
                <c:pt idx="234">
                  <c:v>44423</c:v>
                </c:pt>
                <c:pt idx="235">
                  <c:v>44424</c:v>
                </c:pt>
                <c:pt idx="236">
                  <c:v>44425</c:v>
                </c:pt>
                <c:pt idx="237">
                  <c:v>44426</c:v>
                </c:pt>
                <c:pt idx="238">
                  <c:v>44427</c:v>
                </c:pt>
                <c:pt idx="239">
                  <c:v>44428</c:v>
                </c:pt>
                <c:pt idx="240">
                  <c:v>44429</c:v>
                </c:pt>
                <c:pt idx="241">
                  <c:v>44430</c:v>
                </c:pt>
                <c:pt idx="242">
                  <c:v>44431</c:v>
                </c:pt>
                <c:pt idx="243">
                  <c:v>44432</c:v>
                </c:pt>
                <c:pt idx="244">
                  <c:v>44433</c:v>
                </c:pt>
                <c:pt idx="245">
                  <c:v>44434</c:v>
                </c:pt>
                <c:pt idx="246">
                  <c:v>44435</c:v>
                </c:pt>
                <c:pt idx="247">
                  <c:v>44436</c:v>
                </c:pt>
                <c:pt idx="248">
                  <c:v>44437</c:v>
                </c:pt>
                <c:pt idx="249">
                  <c:v>44438</c:v>
                </c:pt>
                <c:pt idx="250">
                  <c:v>44439</c:v>
                </c:pt>
                <c:pt idx="251">
                  <c:v>44440</c:v>
                </c:pt>
                <c:pt idx="252">
                  <c:v>44441</c:v>
                </c:pt>
                <c:pt idx="253">
                  <c:v>44442</c:v>
                </c:pt>
                <c:pt idx="254">
                  <c:v>44443</c:v>
                </c:pt>
                <c:pt idx="255">
                  <c:v>44444</c:v>
                </c:pt>
                <c:pt idx="256">
                  <c:v>44445</c:v>
                </c:pt>
                <c:pt idx="257">
                  <c:v>44446</c:v>
                </c:pt>
                <c:pt idx="258">
                  <c:v>44447</c:v>
                </c:pt>
                <c:pt idx="259">
                  <c:v>44448</c:v>
                </c:pt>
                <c:pt idx="260">
                  <c:v>44449</c:v>
                </c:pt>
                <c:pt idx="261">
                  <c:v>44450</c:v>
                </c:pt>
                <c:pt idx="262">
                  <c:v>44451</c:v>
                </c:pt>
                <c:pt idx="263">
                  <c:v>44452</c:v>
                </c:pt>
                <c:pt idx="264">
                  <c:v>44453</c:v>
                </c:pt>
                <c:pt idx="265">
                  <c:v>44454</c:v>
                </c:pt>
                <c:pt idx="266">
                  <c:v>44455</c:v>
                </c:pt>
                <c:pt idx="267">
                  <c:v>44456</c:v>
                </c:pt>
                <c:pt idx="268">
                  <c:v>44457</c:v>
                </c:pt>
                <c:pt idx="269">
                  <c:v>44458</c:v>
                </c:pt>
                <c:pt idx="270">
                  <c:v>44459</c:v>
                </c:pt>
                <c:pt idx="271">
                  <c:v>44460</c:v>
                </c:pt>
                <c:pt idx="272">
                  <c:v>44461</c:v>
                </c:pt>
                <c:pt idx="273">
                  <c:v>44462</c:v>
                </c:pt>
                <c:pt idx="274">
                  <c:v>44463</c:v>
                </c:pt>
                <c:pt idx="275">
                  <c:v>44464</c:v>
                </c:pt>
                <c:pt idx="276">
                  <c:v>44465</c:v>
                </c:pt>
                <c:pt idx="277">
                  <c:v>44466</c:v>
                </c:pt>
                <c:pt idx="278">
                  <c:v>44467</c:v>
                </c:pt>
                <c:pt idx="279">
                  <c:v>44468</c:v>
                </c:pt>
                <c:pt idx="280">
                  <c:v>44469</c:v>
                </c:pt>
                <c:pt idx="281">
                  <c:v>44470</c:v>
                </c:pt>
                <c:pt idx="282">
                  <c:v>44471</c:v>
                </c:pt>
                <c:pt idx="283">
                  <c:v>44472</c:v>
                </c:pt>
                <c:pt idx="284">
                  <c:v>44473</c:v>
                </c:pt>
                <c:pt idx="285">
                  <c:v>44474</c:v>
                </c:pt>
                <c:pt idx="286">
                  <c:v>44475</c:v>
                </c:pt>
                <c:pt idx="287">
                  <c:v>44476</c:v>
                </c:pt>
                <c:pt idx="288">
                  <c:v>44477</c:v>
                </c:pt>
                <c:pt idx="289">
                  <c:v>44478</c:v>
                </c:pt>
                <c:pt idx="290">
                  <c:v>44479</c:v>
                </c:pt>
                <c:pt idx="291">
                  <c:v>44480</c:v>
                </c:pt>
                <c:pt idx="292">
                  <c:v>44481</c:v>
                </c:pt>
                <c:pt idx="293">
                  <c:v>44482</c:v>
                </c:pt>
                <c:pt idx="294">
                  <c:v>44483</c:v>
                </c:pt>
                <c:pt idx="295">
                  <c:v>44484</c:v>
                </c:pt>
                <c:pt idx="296">
                  <c:v>44485</c:v>
                </c:pt>
                <c:pt idx="297">
                  <c:v>44486</c:v>
                </c:pt>
                <c:pt idx="298">
                  <c:v>44487</c:v>
                </c:pt>
                <c:pt idx="299">
                  <c:v>44488</c:v>
                </c:pt>
                <c:pt idx="300">
                  <c:v>44489</c:v>
                </c:pt>
                <c:pt idx="301">
                  <c:v>44490</c:v>
                </c:pt>
                <c:pt idx="302">
                  <c:v>44491</c:v>
                </c:pt>
                <c:pt idx="303">
                  <c:v>44492</c:v>
                </c:pt>
                <c:pt idx="304">
                  <c:v>44493</c:v>
                </c:pt>
                <c:pt idx="305">
                  <c:v>44494</c:v>
                </c:pt>
                <c:pt idx="306">
                  <c:v>44495</c:v>
                </c:pt>
                <c:pt idx="307">
                  <c:v>44496</c:v>
                </c:pt>
                <c:pt idx="308">
                  <c:v>44497</c:v>
                </c:pt>
                <c:pt idx="309">
                  <c:v>44498</c:v>
                </c:pt>
                <c:pt idx="310">
                  <c:v>44499</c:v>
                </c:pt>
                <c:pt idx="311">
                  <c:v>44500</c:v>
                </c:pt>
                <c:pt idx="312">
                  <c:v>44501</c:v>
                </c:pt>
                <c:pt idx="313">
                  <c:v>44502</c:v>
                </c:pt>
                <c:pt idx="314">
                  <c:v>44503</c:v>
                </c:pt>
                <c:pt idx="315">
                  <c:v>44504</c:v>
                </c:pt>
                <c:pt idx="316">
                  <c:v>44505</c:v>
                </c:pt>
                <c:pt idx="317">
                  <c:v>44506</c:v>
                </c:pt>
                <c:pt idx="318">
                  <c:v>44507</c:v>
                </c:pt>
                <c:pt idx="319">
                  <c:v>44508</c:v>
                </c:pt>
                <c:pt idx="320">
                  <c:v>44509</c:v>
                </c:pt>
                <c:pt idx="321">
                  <c:v>44510</c:v>
                </c:pt>
                <c:pt idx="322">
                  <c:v>44511</c:v>
                </c:pt>
                <c:pt idx="323">
                  <c:v>44512</c:v>
                </c:pt>
                <c:pt idx="324">
                  <c:v>44513</c:v>
                </c:pt>
                <c:pt idx="325">
                  <c:v>44514</c:v>
                </c:pt>
                <c:pt idx="326">
                  <c:v>44515</c:v>
                </c:pt>
                <c:pt idx="327">
                  <c:v>44516</c:v>
                </c:pt>
                <c:pt idx="328">
                  <c:v>44517</c:v>
                </c:pt>
                <c:pt idx="329">
                  <c:v>44518</c:v>
                </c:pt>
                <c:pt idx="330">
                  <c:v>44519</c:v>
                </c:pt>
                <c:pt idx="331">
                  <c:v>44520</c:v>
                </c:pt>
                <c:pt idx="332">
                  <c:v>44521</c:v>
                </c:pt>
                <c:pt idx="333">
                  <c:v>44522</c:v>
                </c:pt>
                <c:pt idx="334">
                  <c:v>44523</c:v>
                </c:pt>
                <c:pt idx="335">
                  <c:v>44524</c:v>
                </c:pt>
                <c:pt idx="336">
                  <c:v>44525</c:v>
                </c:pt>
                <c:pt idx="337">
                  <c:v>44526</c:v>
                </c:pt>
                <c:pt idx="338">
                  <c:v>44527</c:v>
                </c:pt>
                <c:pt idx="339">
                  <c:v>44528</c:v>
                </c:pt>
                <c:pt idx="340">
                  <c:v>44529</c:v>
                </c:pt>
                <c:pt idx="341">
                  <c:v>44530</c:v>
                </c:pt>
                <c:pt idx="342">
                  <c:v>44531</c:v>
                </c:pt>
                <c:pt idx="343">
                  <c:v>44532</c:v>
                </c:pt>
                <c:pt idx="344">
                  <c:v>44533</c:v>
                </c:pt>
                <c:pt idx="345">
                  <c:v>44534</c:v>
                </c:pt>
                <c:pt idx="346">
                  <c:v>44535</c:v>
                </c:pt>
                <c:pt idx="347">
                  <c:v>44536</c:v>
                </c:pt>
                <c:pt idx="348">
                  <c:v>44537</c:v>
                </c:pt>
                <c:pt idx="349">
                  <c:v>44538</c:v>
                </c:pt>
                <c:pt idx="350">
                  <c:v>44539</c:v>
                </c:pt>
                <c:pt idx="351">
                  <c:v>44540</c:v>
                </c:pt>
                <c:pt idx="352">
                  <c:v>44541</c:v>
                </c:pt>
                <c:pt idx="353">
                  <c:v>44542</c:v>
                </c:pt>
                <c:pt idx="354">
                  <c:v>44543</c:v>
                </c:pt>
                <c:pt idx="355">
                  <c:v>44544</c:v>
                </c:pt>
                <c:pt idx="356">
                  <c:v>44545</c:v>
                </c:pt>
                <c:pt idx="357">
                  <c:v>44546</c:v>
                </c:pt>
                <c:pt idx="358">
                  <c:v>44547</c:v>
                </c:pt>
                <c:pt idx="359">
                  <c:v>44548</c:v>
                </c:pt>
                <c:pt idx="360">
                  <c:v>44549</c:v>
                </c:pt>
                <c:pt idx="361">
                  <c:v>44550</c:v>
                </c:pt>
                <c:pt idx="362">
                  <c:v>44551</c:v>
                </c:pt>
                <c:pt idx="363">
                  <c:v>44552</c:v>
                </c:pt>
                <c:pt idx="364">
                  <c:v>44553</c:v>
                </c:pt>
                <c:pt idx="365">
                  <c:v>44554</c:v>
                </c:pt>
                <c:pt idx="366">
                  <c:v>44555</c:v>
                </c:pt>
                <c:pt idx="367">
                  <c:v>44556</c:v>
                </c:pt>
                <c:pt idx="368">
                  <c:v>44557</c:v>
                </c:pt>
                <c:pt idx="369">
                  <c:v>44558</c:v>
                </c:pt>
                <c:pt idx="370">
                  <c:v>44559</c:v>
                </c:pt>
                <c:pt idx="371">
                  <c:v>44560</c:v>
                </c:pt>
                <c:pt idx="372">
                  <c:v>44561</c:v>
                </c:pt>
                <c:pt idx="373">
                  <c:v>44562</c:v>
                </c:pt>
                <c:pt idx="374">
                  <c:v>44563</c:v>
                </c:pt>
                <c:pt idx="375">
                  <c:v>44564</c:v>
                </c:pt>
                <c:pt idx="376">
                  <c:v>44565</c:v>
                </c:pt>
                <c:pt idx="377">
                  <c:v>44566</c:v>
                </c:pt>
                <c:pt idx="378">
                  <c:v>44567</c:v>
                </c:pt>
                <c:pt idx="379">
                  <c:v>44568</c:v>
                </c:pt>
                <c:pt idx="380">
                  <c:v>44569</c:v>
                </c:pt>
                <c:pt idx="381">
                  <c:v>44570</c:v>
                </c:pt>
                <c:pt idx="382">
                  <c:v>44571</c:v>
                </c:pt>
                <c:pt idx="383">
                  <c:v>44572</c:v>
                </c:pt>
                <c:pt idx="384">
                  <c:v>44573</c:v>
                </c:pt>
                <c:pt idx="385">
                  <c:v>44574</c:v>
                </c:pt>
                <c:pt idx="386">
                  <c:v>44575</c:v>
                </c:pt>
                <c:pt idx="387">
                  <c:v>44576</c:v>
                </c:pt>
                <c:pt idx="388">
                  <c:v>44577</c:v>
                </c:pt>
                <c:pt idx="389">
                  <c:v>44578</c:v>
                </c:pt>
                <c:pt idx="390">
                  <c:v>44579</c:v>
                </c:pt>
                <c:pt idx="391">
                  <c:v>44580</c:v>
                </c:pt>
                <c:pt idx="392">
                  <c:v>44581</c:v>
                </c:pt>
                <c:pt idx="393">
                  <c:v>44582</c:v>
                </c:pt>
                <c:pt idx="394">
                  <c:v>44583</c:v>
                </c:pt>
                <c:pt idx="395">
                  <c:v>44584</c:v>
                </c:pt>
                <c:pt idx="396">
                  <c:v>44585</c:v>
                </c:pt>
                <c:pt idx="397">
                  <c:v>44586</c:v>
                </c:pt>
                <c:pt idx="398">
                  <c:v>44587</c:v>
                </c:pt>
                <c:pt idx="399">
                  <c:v>44588</c:v>
                </c:pt>
                <c:pt idx="400">
                  <c:v>44589</c:v>
                </c:pt>
                <c:pt idx="401">
                  <c:v>44590</c:v>
                </c:pt>
                <c:pt idx="402">
                  <c:v>44591</c:v>
                </c:pt>
                <c:pt idx="403">
                  <c:v>44592</c:v>
                </c:pt>
                <c:pt idx="404">
                  <c:v>44593</c:v>
                </c:pt>
                <c:pt idx="405">
                  <c:v>44594</c:v>
                </c:pt>
                <c:pt idx="406">
                  <c:v>44595</c:v>
                </c:pt>
                <c:pt idx="407">
                  <c:v>44596</c:v>
                </c:pt>
                <c:pt idx="408">
                  <c:v>44597</c:v>
                </c:pt>
                <c:pt idx="409">
                  <c:v>44598</c:v>
                </c:pt>
                <c:pt idx="410">
                  <c:v>44599</c:v>
                </c:pt>
                <c:pt idx="411">
                  <c:v>44600</c:v>
                </c:pt>
                <c:pt idx="412">
                  <c:v>44601</c:v>
                </c:pt>
                <c:pt idx="413">
                  <c:v>44602</c:v>
                </c:pt>
                <c:pt idx="414">
                  <c:v>44603</c:v>
                </c:pt>
                <c:pt idx="415">
                  <c:v>44604</c:v>
                </c:pt>
                <c:pt idx="416">
                  <c:v>44605</c:v>
                </c:pt>
                <c:pt idx="417">
                  <c:v>44606</c:v>
                </c:pt>
                <c:pt idx="418">
                  <c:v>44607</c:v>
                </c:pt>
                <c:pt idx="419">
                  <c:v>44608</c:v>
                </c:pt>
                <c:pt idx="420">
                  <c:v>44609</c:v>
                </c:pt>
                <c:pt idx="421">
                  <c:v>44610</c:v>
                </c:pt>
                <c:pt idx="422">
                  <c:v>44611</c:v>
                </c:pt>
                <c:pt idx="423">
                  <c:v>44612</c:v>
                </c:pt>
                <c:pt idx="424">
                  <c:v>44613</c:v>
                </c:pt>
                <c:pt idx="425">
                  <c:v>44614</c:v>
                </c:pt>
                <c:pt idx="426">
                  <c:v>44615</c:v>
                </c:pt>
                <c:pt idx="427">
                  <c:v>44616</c:v>
                </c:pt>
                <c:pt idx="428">
                  <c:v>44617</c:v>
                </c:pt>
                <c:pt idx="429">
                  <c:v>44618</c:v>
                </c:pt>
                <c:pt idx="430">
                  <c:v>44619</c:v>
                </c:pt>
                <c:pt idx="431">
                  <c:v>44620</c:v>
                </c:pt>
                <c:pt idx="432">
                  <c:v>44621</c:v>
                </c:pt>
                <c:pt idx="433">
                  <c:v>44622</c:v>
                </c:pt>
                <c:pt idx="434">
                  <c:v>44623</c:v>
                </c:pt>
                <c:pt idx="435">
                  <c:v>44624</c:v>
                </c:pt>
                <c:pt idx="436">
                  <c:v>44625</c:v>
                </c:pt>
                <c:pt idx="437">
                  <c:v>44626</c:v>
                </c:pt>
                <c:pt idx="438">
                  <c:v>44627</c:v>
                </c:pt>
                <c:pt idx="439">
                  <c:v>44628</c:v>
                </c:pt>
                <c:pt idx="440">
                  <c:v>44629</c:v>
                </c:pt>
                <c:pt idx="441">
                  <c:v>44630</c:v>
                </c:pt>
                <c:pt idx="442">
                  <c:v>44631</c:v>
                </c:pt>
                <c:pt idx="443">
                  <c:v>44632</c:v>
                </c:pt>
                <c:pt idx="444">
                  <c:v>44633</c:v>
                </c:pt>
                <c:pt idx="445">
                  <c:v>44634</c:v>
                </c:pt>
                <c:pt idx="446">
                  <c:v>44635</c:v>
                </c:pt>
                <c:pt idx="447">
                  <c:v>44636</c:v>
                </c:pt>
                <c:pt idx="448">
                  <c:v>44637</c:v>
                </c:pt>
                <c:pt idx="449">
                  <c:v>44638</c:v>
                </c:pt>
                <c:pt idx="450">
                  <c:v>44639</c:v>
                </c:pt>
                <c:pt idx="451">
                  <c:v>44640</c:v>
                </c:pt>
                <c:pt idx="452">
                  <c:v>44641</c:v>
                </c:pt>
                <c:pt idx="453">
                  <c:v>44642</c:v>
                </c:pt>
                <c:pt idx="454">
                  <c:v>44643</c:v>
                </c:pt>
                <c:pt idx="455">
                  <c:v>44644</c:v>
                </c:pt>
                <c:pt idx="456">
                  <c:v>44645</c:v>
                </c:pt>
                <c:pt idx="457">
                  <c:v>44646</c:v>
                </c:pt>
                <c:pt idx="458">
                  <c:v>44647</c:v>
                </c:pt>
                <c:pt idx="459">
                  <c:v>44648</c:v>
                </c:pt>
                <c:pt idx="460">
                  <c:v>44649</c:v>
                </c:pt>
                <c:pt idx="461">
                  <c:v>44650</c:v>
                </c:pt>
                <c:pt idx="462">
                  <c:v>44651</c:v>
                </c:pt>
                <c:pt idx="463">
                  <c:v>44652</c:v>
                </c:pt>
                <c:pt idx="464">
                  <c:v>44653</c:v>
                </c:pt>
                <c:pt idx="465">
                  <c:v>44654</c:v>
                </c:pt>
                <c:pt idx="466">
                  <c:v>44655</c:v>
                </c:pt>
                <c:pt idx="467">
                  <c:v>44656</c:v>
                </c:pt>
                <c:pt idx="468">
                  <c:v>44657</c:v>
                </c:pt>
                <c:pt idx="469">
                  <c:v>44658</c:v>
                </c:pt>
              </c:numCache>
            </c:numRef>
          </c:cat>
          <c:val>
            <c:numRef>
              <c:f>Sheet1!$B$85:$B$554</c:f>
              <c:numCache>
                <c:formatCode>General</c:formatCode>
                <c:ptCount val="470"/>
                <c:pt idx="0">
                  <c:v>0.23009916912299999</c:v>
                </c:pt>
                <c:pt idx="1">
                  <c:v>0.17967977861199999</c:v>
                </c:pt>
                <c:pt idx="2">
                  <c:v>0.16000568909099999</c:v>
                </c:pt>
                <c:pt idx="3">
                  <c:v>0.17527630946600001</c:v>
                </c:pt>
                <c:pt idx="4">
                  <c:v>0.17299313052000001</c:v>
                </c:pt>
                <c:pt idx="5">
                  <c:v>0.25169593363499998</c:v>
                </c:pt>
                <c:pt idx="6">
                  <c:v>0.25869547754799999</c:v>
                </c:pt>
                <c:pt idx="7">
                  <c:v>0.282873706452</c:v>
                </c:pt>
                <c:pt idx="8">
                  <c:v>0.32958622339100002</c:v>
                </c:pt>
                <c:pt idx="9">
                  <c:v>0.18316326530599999</c:v>
                </c:pt>
                <c:pt idx="10">
                  <c:v>0.238535608732</c:v>
                </c:pt>
                <c:pt idx="11">
                  <c:v>0.17222790856299999</c:v>
                </c:pt>
                <c:pt idx="12">
                  <c:v>0.23617393842100001</c:v>
                </c:pt>
                <c:pt idx="13">
                  <c:v>0.27692372666600001</c:v>
                </c:pt>
                <c:pt idx="14">
                  <c:v>0.23819404099899999</c:v>
                </c:pt>
                <c:pt idx="15">
                  <c:v>0.20582986317599999</c:v>
                </c:pt>
                <c:pt idx="16">
                  <c:v>0.26306901615200001</c:v>
                </c:pt>
                <c:pt idx="17">
                  <c:v>0.210663346162</c:v>
                </c:pt>
                <c:pt idx="18">
                  <c:v>0.13634464024500001</c:v>
                </c:pt>
                <c:pt idx="19">
                  <c:v>0.18942625892100001</c:v>
                </c:pt>
                <c:pt idx="20">
                  <c:v>0.20721973094099999</c:v>
                </c:pt>
                <c:pt idx="21">
                  <c:v>0.16280387066300001</c:v>
                </c:pt>
                <c:pt idx="22">
                  <c:v>0.1797130522</c:v>
                </c:pt>
                <c:pt idx="23">
                  <c:v>0.22176645138699999</c:v>
                </c:pt>
                <c:pt idx="24">
                  <c:v>0.19933343913599999</c:v>
                </c:pt>
                <c:pt idx="25">
                  <c:v>0.139423848499</c:v>
                </c:pt>
                <c:pt idx="26">
                  <c:v>0.202015400703</c:v>
                </c:pt>
                <c:pt idx="27">
                  <c:v>0.18611987381699999</c:v>
                </c:pt>
                <c:pt idx="28">
                  <c:v>0.17786561264799999</c:v>
                </c:pt>
                <c:pt idx="29">
                  <c:v>0.16997307001699999</c:v>
                </c:pt>
                <c:pt idx="30">
                  <c:v>0.20097941235200001</c:v>
                </c:pt>
                <c:pt idx="31">
                  <c:v>0.17337413925</c:v>
                </c:pt>
                <c:pt idx="32">
                  <c:v>0.12743412371499999</c:v>
                </c:pt>
                <c:pt idx="33">
                  <c:v>0.19659717677800001</c:v>
                </c:pt>
                <c:pt idx="34">
                  <c:v>0.165711947626</c:v>
                </c:pt>
                <c:pt idx="35">
                  <c:v>0.18182276185099999</c:v>
                </c:pt>
                <c:pt idx="36">
                  <c:v>0.16002193815099999</c:v>
                </c:pt>
                <c:pt idx="37">
                  <c:v>0.17118794326199999</c:v>
                </c:pt>
                <c:pt idx="38">
                  <c:v>0.167103991161</c:v>
                </c:pt>
                <c:pt idx="39">
                  <c:v>0.121892454276</c:v>
                </c:pt>
                <c:pt idx="40">
                  <c:v>0.17615958770199999</c:v>
                </c:pt>
                <c:pt idx="41">
                  <c:v>0.186946950403</c:v>
                </c:pt>
                <c:pt idx="42">
                  <c:v>0.16450236314399999</c:v>
                </c:pt>
                <c:pt idx="43">
                  <c:v>0.16068430729800001</c:v>
                </c:pt>
                <c:pt idx="44">
                  <c:v>0.20081932948699999</c:v>
                </c:pt>
                <c:pt idx="45">
                  <c:v>0.14554282868499999</c:v>
                </c:pt>
                <c:pt idx="46">
                  <c:v>0.134868541674</c:v>
                </c:pt>
                <c:pt idx="47">
                  <c:v>0.189568504443</c:v>
                </c:pt>
                <c:pt idx="48">
                  <c:v>0.17807058424700001</c:v>
                </c:pt>
                <c:pt idx="49">
                  <c:v>0.17723606221300001</c:v>
                </c:pt>
                <c:pt idx="50">
                  <c:v>0.15689490749500001</c:v>
                </c:pt>
                <c:pt idx="51">
                  <c:v>0.19143208737100001</c:v>
                </c:pt>
                <c:pt idx="52">
                  <c:v>0.16833474014200001</c:v>
                </c:pt>
                <c:pt idx="53">
                  <c:v>0.14252088582399999</c:v>
                </c:pt>
                <c:pt idx="54">
                  <c:v>0.20351831701100001</c:v>
                </c:pt>
                <c:pt idx="55">
                  <c:v>0.179439252336</c:v>
                </c:pt>
                <c:pt idx="56">
                  <c:v>0.188602782957</c:v>
                </c:pt>
                <c:pt idx="57">
                  <c:v>0.16037085760799999</c:v>
                </c:pt>
                <c:pt idx="58">
                  <c:v>0.21701906862100001</c:v>
                </c:pt>
                <c:pt idx="59">
                  <c:v>0.19488018477499999</c:v>
                </c:pt>
                <c:pt idx="60">
                  <c:v>0.14870347020399999</c:v>
                </c:pt>
                <c:pt idx="61">
                  <c:v>0.21077897216899999</c:v>
                </c:pt>
                <c:pt idx="62">
                  <c:v>0.17164918414899999</c:v>
                </c:pt>
                <c:pt idx="63">
                  <c:v>0.18877761413800001</c:v>
                </c:pt>
                <c:pt idx="64">
                  <c:v>0.181236387103</c:v>
                </c:pt>
                <c:pt idx="65">
                  <c:v>0.20186965811900001</c:v>
                </c:pt>
                <c:pt idx="66">
                  <c:v>0.18539325842599999</c:v>
                </c:pt>
                <c:pt idx="67">
                  <c:v>0.14269046496000001</c:v>
                </c:pt>
                <c:pt idx="68">
                  <c:v>0.19554092627299999</c:v>
                </c:pt>
                <c:pt idx="69">
                  <c:v>0.177085584612</c:v>
                </c:pt>
                <c:pt idx="70">
                  <c:v>0.159458011176</c:v>
                </c:pt>
                <c:pt idx="71">
                  <c:v>0.13499369188300001</c:v>
                </c:pt>
                <c:pt idx="72">
                  <c:v>0.229013373435</c:v>
                </c:pt>
                <c:pt idx="73">
                  <c:v>0.151768010575</c:v>
                </c:pt>
                <c:pt idx="74">
                  <c:v>9.2547473357000004E-2</c:v>
                </c:pt>
                <c:pt idx="75">
                  <c:v>0.134037778193</c:v>
                </c:pt>
                <c:pt idx="76">
                  <c:v>0.118154788719</c:v>
                </c:pt>
                <c:pt idx="77">
                  <c:v>8.7312729921999996E-2</c:v>
                </c:pt>
                <c:pt idx="78">
                  <c:v>0.120829178491</c:v>
                </c:pt>
                <c:pt idx="79">
                  <c:v>0.17346883615299999</c:v>
                </c:pt>
                <c:pt idx="80">
                  <c:v>0.123847572218</c:v>
                </c:pt>
                <c:pt idx="81">
                  <c:v>7.8621571821999997E-2</c:v>
                </c:pt>
                <c:pt idx="82">
                  <c:v>0.10832128081799999</c:v>
                </c:pt>
                <c:pt idx="83">
                  <c:v>9.4909142835999993E-2</c:v>
                </c:pt>
                <c:pt idx="84">
                  <c:v>8.8691185911999995E-2</c:v>
                </c:pt>
                <c:pt idx="85">
                  <c:v>9.3811739212999998E-2</c:v>
                </c:pt>
                <c:pt idx="86">
                  <c:v>0.15973050321900001</c:v>
                </c:pt>
                <c:pt idx="87">
                  <c:v>8.9776119402000004E-2</c:v>
                </c:pt>
                <c:pt idx="88">
                  <c:v>6.3134999415999996E-2</c:v>
                </c:pt>
                <c:pt idx="89">
                  <c:v>8.3814935064000007E-2</c:v>
                </c:pt>
                <c:pt idx="90">
                  <c:v>7.0096253193999994E-2</c:v>
                </c:pt>
                <c:pt idx="91">
                  <c:v>6.6398501212E-2</c:v>
                </c:pt>
                <c:pt idx="92">
                  <c:v>7.8440714672000006E-2</c:v>
                </c:pt>
                <c:pt idx="93">
                  <c:v>0.14705012568299999</c:v>
                </c:pt>
                <c:pt idx="94">
                  <c:v>8.7925521909999999E-2</c:v>
                </c:pt>
                <c:pt idx="95">
                  <c:v>5.0868504476999997E-2</c:v>
                </c:pt>
                <c:pt idx="96">
                  <c:v>6.8337589032999996E-2</c:v>
                </c:pt>
                <c:pt idx="97">
                  <c:v>5.7824158994000001E-2</c:v>
                </c:pt>
                <c:pt idx="98">
                  <c:v>4.5055256446000003E-2</c:v>
                </c:pt>
                <c:pt idx="99">
                  <c:v>0.10405561993</c:v>
                </c:pt>
                <c:pt idx="100">
                  <c:v>0.10576478208499999</c:v>
                </c:pt>
                <c:pt idx="101">
                  <c:v>0.108405260994</c:v>
                </c:pt>
                <c:pt idx="102">
                  <c:v>5.4026279086000002E-2</c:v>
                </c:pt>
                <c:pt idx="103">
                  <c:v>3.0037174720999999E-2</c:v>
                </c:pt>
                <c:pt idx="104">
                  <c:v>4.8050576331000003E-2</c:v>
                </c:pt>
                <c:pt idx="105">
                  <c:v>3.9573215864999997E-2</c:v>
                </c:pt>
                <c:pt idx="106">
                  <c:v>5.1090714029999998E-2</c:v>
                </c:pt>
                <c:pt idx="107">
                  <c:v>8.5319849104999998E-2</c:v>
                </c:pt>
                <c:pt idx="108">
                  <c:v>3.8891889806000002E-2</c:v>
                </c:pt>
                <c:pt idx="109">
                  <c:v>2.8335873631E-2</c:v>
                </c:pt>
                <c:pt idx="110">
                  <c:v>3.9700065133999998E-2</c:v>
                </c:pt>
                <c:pt idx="111">
                  <c:v>3.1633977629999997E-2</c:v>
                </c:pt>
                <c:pt idx="112">
                  <c:v>2.6622538232999999E-2</c:v>
                </c:pt>
                <c:pt idx="113">
                  <c:v>4.0505426198000002E-2</c:v>
                </c:pt>
                <c:pt idx="114">
                  <c:v>6.5407339602E-2</c:v>
                </c:pt>
                <c:pt idx="115">
                  <c:v>3.2070175437999997E-2</c:v>
                </c:pt>
                <c:pt idx="116">
                  <c:v>2.2824886488999999E-2</c:v>
                </c:pt>
                <c:pt idx="117">
                  <c:v>2.8639502090000001E-2</c:v>
                </c:pt>
                <c:pt idx="118">
                  <c:v>2.5308497834999999E-2</c:v>
                </c:pt>
                <c:pt idx="119">
                  <c:v>2.1645250559E-2</c:v>
                </c:pt>
                <c:pt idx="120">
                  <c:v>3.3205112295999997E-2</c:v>
                </c:pt>
                <c:pt idx="121">
                  <c:v>5.7609964966000002E-2</c:v>
                </c:pt>
                <c:pt idx="122">
                  <c:v>3.6013960050000002E-2</c:v>
                </c:pt>
                <c:pt idx="123">
                  <c:v>1.7537105381E-2</c:v>
                </c:pt>
                <c:pt idx="124">
                  <c:v>2.5233644858999999E-2</c:v>
                </c:pt>
                <c:pt idx="125">
                  <c:v>2.0846538487999999E-2</c:v>
                </c:pt>
                <c:pt idx="126">
                  <c:v>1.8182122867000002E-2</c:v>
                </c:pt>
                <c:pt idx="127">
                  <c:v>2.6194581570999999E-2</c:v>
                </c:pt>
                <c:pt idx="128">
                  <c:v>5.5427046262999997E-2</c:v>
                </c:pt>
                <c:pt idx="129">
                  <c:v>1.5369082342E-2</c:v>
                </c:pt>
                <c:pt idx="130">
                  <c:v>1.4345882047E-2</c:v>
                </c:pt>
                <c:pt idx="131">
                  <c:v>1.8181276265000001E-2</c:v>
                </c:pt>
                <c:pt idx="132">
                  <c:v>1.5783132530000001E-2</c:v>
                </c:pt>
                <c:pt idx="133">
                  <c:v>1.329607046E-2</c:v>
                </c:pt>
                <c:pt idx="134">
                  <c:v>2.1310614738E-2</c:v>
                </c:pt>
                <c:pt idx="135">
                  <c:v>3.0324181788999999E-2</c:v>
                </c:pt>
                <c:pt idx="136">
                  <c:v>1.2531478594000001E-2</c:v>
                </c:pt>
                <c:pt idx="137">
                  <c:v>9.1641180219999997E-3</c:v>
                </c:pt>
                <c:pt idx="138">
                  <c:v>1.1878702527000001E-2</c:v>
                </c:pt>
                <c:pt idx="139">
                  <c:v>1.0968921389E-2</c:v>
                </c:pt>
                <c:pt idx="140">
                  <c:v>9.6582830799999998E-3</c:v>
                </c:pt>
                <c:pt idx="141">
                  <c:v>1.2556032763E-2</c:v>
                </c:pt>
                <c:pt idx="142">
                  <c:v>1.9890959199E-2</c:v>
                </c:pt>
                <c:pt idx="143">
                  <c:v>8.3034111309999992E-3</c:v>
                </c:pt>
                <c:pt idx="144">
                  <c:v>5.307656975E-3</c:v>
                </c:pt>
                <c:pt idx="145">
                  <c:v>7.8704078050000001E-3</c:v>
                </c:pt>
                <c:pt idx="146">
                  <c:v>6.0526122949999999E-3</c:v>
                </c:pt>
                <c:pt idx="147">
                  <c:v>5.1463020140000001E-3</c:v>
                </c:pt>
                <c:pt idx="148">
                  <c:v>5.8600539649999997E-3</c:v>
                </c:pt>
                <c:pt idx="149">
                  <c:v>1.2429611316999999E-2</c:v>
                </c:pt>
                <c:pt idx="150">
                  <c:v>6.3385962890000003E-3</c:v>
                </c:pt>
                <c:pt idx="151">
                  <c:v>4.1093544879999997E-3</c:v>
                </c:pt>
                <c:pt idx="152">
                  <c:v>5.5138395799999998E-3</c:v>
                </c:pt>
                <c:pt idx="153">
                  <c:v>4.6270132799999999E-3</c:v>
                </c:pt>
                <c:pt idx="154">
                  <c:v>4.6373934759999999E-3</c:v>
                </c:pt>
                <c:pt idx="155">
                  <c:v>4.4224915280000002E-3</c:v>
                </c:pt>
                <c:pt idx="156">
                  <c:v>8.5079892090000001E-3</c:v>
                </c:pt>
                <c:pt idx="157">
                  <c:v>4.5442908339999996E-3</c:v>
                </c:pt>
                <c:pt idx="158">
                  <c:v>3.0192046309999998E-3</c:v>
                </c:pt>
                <c:pt idx="159">
                  <c:v>4.4285667239999998E-3</c:v>
                </c:pt>
                <c:pt idx="160">
                  <c:v>3.3727725270000001E-3</c:v>
                </c:pt>
                <c:pt idx="161">
                  <c:v>3.3837579609999999E-3</c:v>
                </c:pt>
                <c:pt idx="162">
                  <c:v>3.1664059399999999E-3</c:v>
                </c:pt>
                <c:pt idx="163">
                  <c:v>4.8863250760000001E-3</c:v>
                </c:pt>
                <c:pt idx="164">
                  <c:v>4.2473544020000002E-3</c:v>
                </c:pt>
                <c:pt idx="165">
                  <c:v>1.887858783E-3</c:v>
                </c:pt>
                <c:pt idx="166">
                  <c:v>3.9084310440000002E-3</c:v>
                </c:pt>
                <c:pt idx="167">
                  <c:v>2.6196856370000001E-3</c:v>
                </c:pt>
                <c:pt idx="168">
                  <c:v>1.9355619169999999E-3</c:v>
                </c:pt>
                <c:pt idx="169">
                  <c:v>1.7831452250000001E-3</c:v>
                </c:pt>
                <c:pt idx="170">
                  <c:v>2.818363865E-3</c:v>
                </c:pt>
                <c:pt idx="171">
                  <c:v>1.505546751E-3</c:v>
                </c:pt>
                <c:pt idx="172">
                  <c:v>1.1051783589999999E-3</c:v>
                </c:pt>
                <c:pt idx="173">
                  <c:v>2.1662029849999999E-3</c:v>
                </c:pt>
                <c:pt idx="174">
                  <c:v>1.0356342729999999E-3</c:v>
                </c:pt>
                <c:pt idx="175">
                  <c:v>1.0452100870000001E-3</c:v>
                </c:pt>
                <c:pt idx="176">
                  <c:v>9.9596182700000002E-4</c:v>
                </c:pt>
                <c:pt idx="177">
                  <c:v>1.1910275919999999E-3</c:v>
                </c:pt>
                <c:pt idx="178">
                  <c:v>2.169921548E-3</c:v>
                </c:pt>
                <c:pt idx="179">
                  <c:v>6.9186457500000002E-4</c:v>
                </c:pt>
                <c:pt idx="180">
                  <c:v>9.6940170500000005E-4</c:v>
                </c:pt>
                <c:pt idx="181">
                  <c:v>1.1384511880000001E-3</c:v>
                </c:pt>
                <c:pt idx="182">
                  <c:v>8.2929597099999999E-4</c:v>
                </c:pt>
                <c:pt idx="183">
                  <c:v>1.280126043E-3</c:v>
                </c:pt>
                <c:pt idx="184">
                  <c:v>1.251368684E-3</c:v>
                </c:pt>
                <c:pt idx="185">
                  <c:v>2.0193151879999999E-3</c:v>
                </c:pt>
                <c:pt idx="186">
                  <c:v>7.9509313899999996E-4</c:v>
                </c:pt>
                <c:pt idx="187">
                  <c:v>1.4805648239999999E-3</c:v>
                </c:pt>
                <c:pt idx="188">
                  <c:v>1.2838736299999999E-3</c:v>
                </c:pt>
                <c:pt idx="189">
                  <c:v>1.30515325E-3</c:v>
                </c:pt>
                <c:pt idx="190">
                  <c:v>1.3172751220000001E-3</c:v>
                </c:pt>
                <c:pt idx="191">
                  <c:v>1.832259589E-3</c:v>
                </c:pt>
                <c:pt idx="192">
                  <c:v>2.9861031349999998E-3</c:v>
                </c:pt>
                <c:pt idx="193">
                  <c:v>3.1442663370000001E-3</c:v>
                </c:pt>
                <c:pt idx="194">
                  <c:v>3.5940195509999999E-3</c:v>
                </c:pt>
                <c:pt idx="195">
                  <c:v>3.4905310059999998E-3</c:v>
                </c:pt>
                <c:pt idx="196">
                  <c:v>3.3225745200000001E-3</c:v>
                </c:pt>
                <c:pt idx="197">
                  <c:v>2.1218074650000002E-3</c:v>
                </c:pt>
                <c:pt idx="198">
                  <c:v>2.262753702E-3</c:v>
                </c:pt>
                <c:pt idx="199">
                  <c:v>2.264737696E-3</c:v>
                </c:pt>
                <c:pt idx="200">
                  <c:v>1.9151652709999999E-3</c:v>
                </c:pt>
                <c:pt idx="201">
                  <c:v>4.057448315E-3</c:v>
                </c:pt>
                <c:pt idx="202">
                  <c:v>3.8844214249999999E-3</c:v>
                </c:pt>
                <c:pt idx="203">
                  <c:v>2.3240289760000001E-3</c:v>
                </c:pt>
                <c:pt idx="204">
                  <c:v>1.2921394839999999E-3</c:v>
                </c:pt>
                <c:pt idx="205">
                  <c:v>2.4363605810000001E-3</c:v>
                </c:pt>
                <c:pt idx="206">
                  <c:v>1.8102329390000001E-3</c:v>
                </c:pt>
                <c:pt idx="207">
                  <c:v>2.115244347E-3</c:v>
                </c:pt>
                <c:pt idx="208">
                  <c:v>4.830564297E-3</c:v>
                </c:pt>
                <c:pt idx="209">
                  <c:v>3.8543425590000001E-3</c:v>
                </c:pt>
                <c:pt idx="210">
                  <c:v>1.8186800859999999E-3</c:v>
                </c:pt>
                <c:pt idx="211">
                  <c:v>1.152310145E-3</c:v>
                </c:pt>
                <c:pt idx="212">
                  <c:v>1.3193656480000001E-3</c:v>
                </c:pt>
                <c:pt idx="213">
                  <c:v>9.82897582E-4</c:v>
                </c:pt>
                <c:pt idx="214">
                  <c:v>1.84893515E-3</c:v>
                </c:pt>
                <c:pt idx="215">
                  <c:v>3.128760529E-3</c:v>
                </c:pt>
                <c:pt idx="216">
                  <c:v>2.6443896859999999E-3</c:v>
                </c:pt>
                <c:pt idx="217">
                  <c:v>2.0168221300000001E-3</c:v>
                </c:pt>
                <c:pt idx="218">
                  <c:v>9.4952671999999996E-4</c:v>
                </c:pt>
                <c:pt idx="219">
                  <c:v>1.336378656E-3</c:v>
                </c:pt>
                <c:pt idx="220">
                  <c:v>1.353537354E-3</c:v>
                </c:pt>
                <c:pt idx="221">
                  <c:v>1.388075563E-3</c:v>
                </c:pt>
                <c:pt idx="222">
                  <c:v>2.858226149E-3</c:v>
                </c:pt>
                <c:pt idx="223">
                  <c:v>2.924926876E-3</c:v>
                </c:pt>
                <c:pt idx="224">
                  <c:v>1.746316747E-3</c:v>
                </c:pt>
                <c:pt idx="225">
                  <c:v>1.229747594E-3</c:v>
                </c:pt>
                <c:pt idx="226">
                  <c:v>1.983429575E-3</c:v>
                </c:pt>
                <c:pt idx="227">
                  <c:v>1.553537284E-3</c:v>
                </c:pt>
                <c:pt idx="228">
                  <c:v>1.9606969380000002E-3</c:v>
                </c:pt>
                <c:pt idx="229">
                  <c:v>2.9153651639999998E-3</c:v>
                </c:pt>
                <c:pt idx="230">
                  <c:v>3.414264036E-3</c:v>
                </c:pt>
                <c:pt idx="231">
                  <c:v>1.8544600929999999E-3</c:v>
                </c:pt>
                <c:pt idx="232">
                  <c:v>1.3774499949999999E-3</c:v>
                </c:pt>
                <c:pt idx="233">
                  <c:v>1.355961858E-3</c:v>
                </c:pt>
                <c:pt idx="234">
                  <c:v>1.141482075E-3</c:v>
                </c:pt>
                <c:pt idx="235">
                  <c:v>2.1317655499999998E-3</c:v>
                </c:pt>
                <c:pt idx="236">
                  <c:v>4.4218142829999998E-3</c:v>
                </c:pt>
                <c:pt idx="237">
                  <c:v>2.779755245E-3</c:v>
                </c:pt>
                <c:pt idx="238">
                  <c:v>1.7430804979999999E-3</c:v>
                </c:pt>
                <c:pt idx="239">
                  <c:v>1.227866097E-3</c:v>
                </c:pt>
                <c:pt idx="240">
                  <c:v>1.4482876120000001E-3</c:v>
                </c:pt>
                <c:pt idx="241">
                  <c:v>1.291113908E-3</c:v>
                </c:pt>
                <c:pt idx="242">
                  <c:v>2.2876315380000001E-3</c:v>
                </c:pt>
                <c:pt idx="243">
                  <c:v>3.2992874939999999E-3</c:v>
                </c:pt>
                <c:pt idx="244">
                  <c:v>3.1758178680000001E-3</c:v>
                </c:pt>
                <c:pt idx="245">
                  <c:v>2.854366573E-3</c:v>
                </c:pt>
                <c:pt idx="246">
                  <c:v>1.7691980380000001E-3</c:v>
                </c:pt>
                <c:pt idx="247">
                  <c:v>2.53664036E-3</c:v>
                </c:pt>
                <c:pt idx="248">
                  <c:v>2.3149636670000001E-3</c:v>
                </c:pt>
                <c:pt idx="249">
                  <c:v>3.8860103619999999E-3</c:v>
                </c:pt>
                <c:pt idx="250">
                  <c:v>3.3416417860000001E-3</c:v>
                </c:pt>
                <c:pt idx="251">
                  <c:v>2.9747265350000001E-3</c:v>
                </c:pt>
                <c:pt idx="252">
                  <c:v>2.5722405449999999E-3</c:v>
                </c:pt>
                <c:pt idx="253">
                  <c:v>4.5083658760000003E-3</c:v>
                </c:pt>
                <c:pt idx="254">
                  <c:v>6.5158371039999996E-3</c:v>
                </c:pt>
                <c:pt idx="255">
                  <c:v>5.035669324E-3</c:v>
                </c:pt>
                <c:pt idx="256">
                  <c:v>4.508695341E-3</c:v>
                </c:pt>
                <c:pt idx="257">
                  <c:v>8.5991498190000001E-3</c:v>
                </c:pt>
                <c:pt idx="258">
                  <c:v>6.933261764E-3</c:v>
                </c:pt>
                <c:pt idx="259">
                  <c:v>5.8439661040000004E-3</c:v>
                </c:pt>
                <c:pt idx="260">
                  <c:v>6.0756856839999998E-3</c:v>
                </c:pt>
                <c:pt idx="261">
                  <c:v>6.4281887979999999E-3</c:v>
                </c:pt>
                <c:pt idx="262">
                  <c:v>4.6303563009999996E-3</c:v>
                </c:pt>
                <c:pt idx="263">
                  <c:v>1.0159522323999999E-2</c:v>
                </c:pt>
                <c:pt idx="264">
                  <c:v>1.3011531788E-2</c:v>
                </c:pt>
                <c:pt idx="265">
                  <c:v>1.1882744589999999E-2</c:v>
                </c:pt>
                <c:pt idx="266">
                  <c:v>8.8767736069999999E-3</c:v>
                </c:pt>
                <c:pt idx="267">
                  <c:v>4.4292371629999997E-3</c:v>
                </c:pt>
                <c:pt idx="268">
                  <c:v>6.5627563570000002E-3</c:v>
                </c:pt>
                <c:pt idx="269">
                  <c:v>6.7705299940000003E-3</c:v>
                </c:pt>
                <c:pt idx="270">
                  <c:v>8.9124363389999992E-3</c:v>
                </c:pt>
                <c:pt idx="271">
                  <c:v>1.4396887159E-2</c:v>
                </c:pt>
                <c:pt idx="272">
                  <c:v>1.2393493415E-2</c:v>
                </c:pt>
                <c:pt idx="273">
                  <c:v>7.6276914159999999E-3</c:v>
                </c:pt>
                <c:pt idx="274">
                  <c:v>5.349428721E-3</c:v>
                </c:pt>
                <c:pt idx="275">
                  <c:v>9.5756054470000004E-3</c:v>
                </c:pt>
                <c:pt idx="276">
                  <c:v>8.1380208329999999E-3</c:v>
                </c:pt>
                <c:pt idx="277">
                  <c:v>1.2110178882E-2</c:v>
                </c:pt>
                <c:pt idx="278">
                  <c:v>1.6053082191E-2</c:v>
                </c:pt>
                <c:pt idx="279">
                  <c:v>1.2435815147E-2</c:v>
                </c:pt>
                <c:pt idx="280">
                  <c:v>1.508385781E-2</c:v>
                </c:pt>
                <c:pt idx="281">
                  <c:v>9.7450210510000006E-3</c:v>
                </c:pt>
                <c:pt idx="282">
                  <c:v>1.5037160799000001E-2</c:v>
                </c:pt>
                <c:pt idx="283">
                  <c:v>1.3482181193000001E-2</c:v>
                </c:pt>
                <c:pt idx="284">
                  <c:v>1.7718457888999999E-2</c:v>
                </c:pt>
                <c:pt idx="285">
                  <c:v>3.0435275447000001E-2</c:v>
                </c:pt>
                <c:pt idx="286">
                  <c:v>2.3891613655000001E-2</c:v>
                </c:pt>
                <c:pt idx="287">
                  <c:v>1.7641914756E-2</c:v>
                </c:pt>
                <c:pt idx="288">
                  <c:v>1.1609510958E-2</c:v>
                </c:pt>
                <c:pt idx="289">
                  <c:v>2.1345098973999999E-2</c:v>
                </c:pt>
                <c:pt idx="290">
                  <c:v>1.4220958137E-2</c:v>
                </c:pt>
                <c:pt idx="291">
                  <c:v>2.9711962631999999E-2</c:v>
                </c:pt>
                <c:pt idx="292">
                  <c:v>3.5626050004000001E-2</c:v>
                </c:pt>
                <c:pt idx="293">
                  <c:v>2.9512697322999999E-2</c:v>
                </c:pt>
                <c:pt idx="294">
                  <c:v>2.7815807926999999E-2</c:v>
                </c:pt>
                <c:pt idx="295">
                  <c:v>1.8690805463999999E-2</c:v>
                </c:pt>
                <c:pt idx="296">
                  <c:v>2.7510252983E-2</c:v>
                </c:pt>
                <c:pt idx="297">
                  <c:v>2.7386314107000001E-2</c:v>
                </c:pt>
                <c:pt idx="298">
                  <c:v>4.2896125159000001E-2</c:v>
                </c:pt>
                <c:pt idx="299">
                  <c:v>5.9532895741E-2</c:v>
                </c:pt>
                <c:pt idx="300">
                  <c:v>5.3334646186E-2</c:v>
                </c:pt>
                <c:pt idx="301">
                  <c:v>4.5460493599999999E-2</c:v>
                </c:pt>
                <c:pt idx="302">
                  <c:v>3.5582214201000002E-2</c:v>
                </c:pt>
                <c:pt idx="303">
                  <c:v>4.6434269032999999E-2</c:v>
                </c:pt>
                <c:pt idx="304">
                  <c:v>4.5669878107000003E-2</c:v>
                </c:pt>
                <c:pt idx="305">
                  <c:v>5.0837711388000001E-2</c:v>
                </c:pt>
                <c:pt idx="306">
                  <c:v>5.7934610051E-2</c:v>
                </c:pt>
                <c:pt idx="307">
                  <c:v>4.5676864494999997E-2</c:v>
                </c:pt>
                <c:pt idx="308">
                  <c:v>6.4712830826999995E-2</c:v>
                </c:pt>
                <c:pt idx="309">
                  <c:v>4.8671781015999997E-2</c:v>
                </c:pt>
                <c:pt idx="310">
                  <c:v>7.9662832072000006E-2</c:v>
                </c:pt>
                <c:pt idx="311">
                  <c:v>4.8035298035E-2</c:v>
                </c:pt>
                <c:pt idx="312">
                  <c:v>6.7579034398000004E-2</c:v>
                </c:pt>
                <c:pt idx="313">
                  <c:v>0.103106329176</c:v>
                </c:pt>
                <c:pt idx="314">
                  <c:v>0.12144621034600001</c:v>
                </c:pt>
                <c:pt idx="315">
                  <c:v>0.101250892386</c:v>
                </c:pt>
                <c:pt idx="316">
                  <c:v>7.6366406398000006E-2</c:v>
                </c:pt>
                <c:pt idx="317">
                  <c:v>8.1024375191999995E-2</c:v>
                </c:pt>
                <c:pt idx="318">
                  <c:v>7.3536324227999994E-2</c:v>
                </c:pt>
                <c:pt idx="319">
                  <c:v>9.3646115759999995E-2</c:v>
                </c:pt>
                <c:pt idx="320">
                  <c:v>0.133900785227</c:v>
                </c:pt>
                <c:pt idx="321">
                  <c:v>0.12623676445000001</c:v>
                </c:pt>
                <c:pt idx="322">
                  <c:v>9.0369270735999999E-2</c:v>
                </c:pt>
                <c:pt idx="323">
                  <c:v>9.7763835263000004E-2</c:v>
                </c:pt>
                <c:pt idx="324">
                  <c:v>0.11324601992</c:v>
                </c:pt>
                <c:pt idx="325">
                  <c:v>0.114340846573</c:v>
                </c:pt>
                <c:pt idx="326">
                  <c:v>9.5219623924000005E-2</c:v>
                </c:pt>
                <c:pt idx="327">
                  <c:v>0.151941556453</c:v>
                </c:pt>
                <c:pt idx="328">
                  <c:v>0.152407054337</c:v>
                </c:pt>
                <c:pt idx="329">
                  <c:v>0.118793748982</c:v>
                </c:pt>
                <c:pt idx="330">
                  <c:v>0.13626214213499999</c:v>
                </c:pt>
                <c:pt idx="331">
                  <c:v>0.13387345679000001</c:v>
                </c:pt>
                <c:pt idx="332">
                  <c:v>0.133420897998</c:v>
                </c:pt>
                <c:pt idx="333">
                  <c:v>0.115224347049</c:v>
                </c:pt>
                <c:pt idx="334">
                  <c:v>0.187541572435</c:v>
                </c:pt>
                <c:pt idx="335">
                  <c:v>0.132934364985</c:v>
                </c:pt>
                <c:pt idx="336">
                  <c:v>0.193075137117</c:v>
                </c:pt>
                <c:pt idx="337">
                  <c:v>0.14115847298500001</c:v>
                </c:pt>
                <c:pt idx="338">
                  <c:v>0.13317244945699999</c:v>
                </c:pt>
                <c:pt idx="339">
                  <c:v>0.14357371079100001</c:v>
                </c:pt>
                <c:pt idx="340">
                  <c:v>0.13485414710999999</c:v>
                </c:pt>
                <c:pt idx="341">
                  <c:v>0.144234169139</c:v>
                </c:pt>
                <c:pt idx="342">
                  <c:v>0.15311404835100001</c:v>
                </c:pt>
                <c:pt idx="343">
                  <c:v>0.13040785784299999</c:v>
                </c:pt>
                <c:pt idx="344">
                  <c:v>0.12593988211500001</c:v>
                </c:pt>
                <c:pt idx="345">
                  <c:v>0.124476987447</c:v>
                </c:pt>
                <c:pt idx="346">
                  <c:v>0.129402567478</c:v>
                </c:pt>
                <c:pt idx="347">
                  <c:v>0.125292096219</c:v>
                </c:pt>
                <c:pt idx="348">
                  <c:v>0.144057876768</c:v>
                </c:pt>
                <c:pt idx="349">
                  <c:v>0.13617411926699999</c:v>
                </c:pt>
                <c:pt idx="350">
                  <c:v>0.120396001537</c:v>
                </c:pt>
                <c:pt idx="351">
                  <c:v>0.103640606325</c:v>
                </c:pt>
                <c:pt idx="352">
                  <c:v>0.123458797387</c:v>
                </c:pt>
                <c:pt idx="353">
                  <c:v>0.121732803492</c:v>
                </c:pt>
                <c:pt idx="354">
                  <c:v>0.105363343144</c:v>
                </c:pt>
                <c:pt idx="355">
                  <c:v>0.13771150084</c:v>
                </c:pt>
                <c:pt idx="356">
                  <c:v>0.121189041464</c:v>
                </c:pt>
                <c:pt idx="357">
                  <c:v>9.2312233795000004E-2</c:v>
                </c:pt>
                <c:pt idx="358">
                  <c:v>9.1170198876999994E-2</c:v>
                </c:pt>
                <c:pt idx="359">
                  <c:v>0.107401934443</c:v>
                </c:pt>
                <c:pt idx="360">
                  <c:v>0.119295782254</c:v>
                </c:pt>
                <c:pt idx="361">
                  <c:v>9.5594520776000003E-2</c:v>
                </c:pt>
                <c:pt idx="362">
                  <c:v>0.12664004563600001</c:v>
                </c:pt>
                <c:pt idx="363">
                  <c:v>8.8101942441999995E-2</c:v>
                </c:pt>
                <c:pt idx="364">
                  <c:v>7.8399408798000003E-2</c:v>
                </c:pt>
                <c:pt idx="365">
                  <c:v>9.6709268390000006E-2</c:v>
                </c:pt>
                <c:pt idx="366">
                  <c:v>6.8965517241000002E-2</c:v>
                </c:pt>
                <c:pt idx="367">
                  <c:v>8.2469848819000005E-2</c:v>
                </c:pt>
                <c:pt idx="368">
                  <c:v>0.10074537865200001</c:v>
                </c:pt>
                <c:pt idx="369">
                  <c:v>0.127985620277</c:v>
                </c:pt>
                <c:pt idx="370">
                  <c:v>0.11954322708200001</c:v>
                </c:pt>
                <c:pt idx="371">
                  <c:v>0.121717511783</c:v>
                </c:pt>
                <c:pt idx="372">
                  <c:v>0.12686478806500001</c:v>
                </c:pt>
                <c:pt idx="373">
                  <c:v>0.106141199226</c:v>
                </c:pt>
                <c:pt idx="374">
                  <c:v>8.3509108341000005E-2</c:v>
                </c:pt>
                <c:pt idx="375">
                  <c:v>9.1005458072000001E-2</c:v>
                </c:pt>
                <c:pt idx="376">
                  <c:v>0.112796741115</c:v>
                </c:pt>
                <c:pt idx="377">
                  <c:v>0.11033433400500001</c:v>
                </c:pt>
                <c:pt idx="378">
                  <c:v>9.0709087832000004E-2</c:v>
                </c:pt>
                <c:pt idx="379">
                  <c:v>7.9204153188999996E-2</c:v>
                </c:pt>
                <c:pt idx="380">
                  <c:v>8.8737681838999993E-2</c:v>
                </c:pt>
                <c:pt idx="381">
                  <c:v>0.104473131191</c:v>
                </c:pt>
                <c:pt idx="382">
                  <c:v>7.7467641852999994E-2</c:v>
                </c:pt>
                <c:pt idx="383">
                  <c:v>0.133866458617</c:v>
                </c:pt>
                <c:pt idx="384">
                  <c:v>0.14549012348900001</c:v>
                </c:pt>
                <c:pt idx="385">
                  <c:v>0.140575781993</c:v>
                </c:pt>
                <c:pt idx="386">
                  <c:v>0.14281141296200001</c:v>
                </c:pt>
                <c:pt idx="387">
                  <c:v>0.13866746879200001</c:v>
                </c:pt>
                <c:pt idx="388">
                  <c:v>0.20295085447399999</c:v>
                </c:pt>
                <c:pt idx="389">
                  <c:v>0.16091114249899999</c:v>
                </c:pt>
                <c:pt idx="390">
                  <c:v>0.222082810539</c:v>
                </c:pt>
                <c:pt idx="391">
                  <c:v>0.226833054693</c:v>
                </c:pt>
                <c:pt idx="392">
                  <c:v>0.19780470670799999</c:v>
                </c:pt>
                <c:pt idx="393">
                  <c:v>0.168490818436</c:v>
                </c:pt>
                <c:pt idx="394">
                  <c:v>0.18159827987800001</c:v>
                </c:pt>
                <c:pt idx="395">
                  <c:v>0.21456634544100001</c:v>
                </c:pt>
                <c:pt idx="396">
                  <c:v>0.18926206711499999</c:v>
                </c:pt>
                <c:pt idx="397">
                  <c:v>0.229834992317</c:v>
                </c:pt>
                <c:pt idx="398">
                  <c:v>0.32443220313999999</c:v>
                </c:pt>
                <c:pt idx="399">
                  <c:v>0.19017879188299999</c:v>
                </c:pt>
                <c:pt idx="400">
                  <c:v>0.230581409086</c:v>
                </c:pt>
                <c:pt idx="401">
                  <c:v>0.140345839059</c:v>
                </c:pt>
                <c:pt idx="402">
                  <c:v>0.314392924149</c:v>
                </c:pt>
                <c:pt idx="403">
                  <c:v>0.17695186834900001</c:v>
                </c:pt>
                <c:pt idx="404">
                  <c:v>0.302314361724</c:v>
                </c:pt>
                <c:pt idx="405">
                  <c:v>0.25692836715200001</c:v>
                </c:pt>
                <c:pt idx="406">
                  <c:v>0.20272973102700001</c:v>
                </c:pt>
                <c:pt idx="407">
                  <c:v>0.16688916149499999</c:v>
                </c:pt>
                <c:pt idx="408">
                  <c:v>0.25480693583399999</c:v>
                </c:pt>
                <c:pt idx="409">
                  <c:v>0.17867352773</c:v>
                </c:pt>
                <c:pt idx="410">
                  <c:v>0.20046184087400001</c:v>
                </c:pt>
                <c:pt idx="411">
                  <c:v>0.26498197886300001</c:v>
                </c:pt>
                <c:pt idx="412">
                  <c:v>0.25080181375799998</c:v>
                </c:pt>
                <c:pt idx="413">
                  <c:v>0.17467384551599999</c:v>
                </c:pt>
                <c:pt idx="414">
                  <c:v>0.18328368182099999</c:v>
                </c:pt>
                <c:pt idx="415">
                  <c:v>0.178830227743</c:v>
                </c:pt>
                <c:pt idx="416">
                  <c:v>0.22044839919699999</c:v>
                </c:pt>
                <c:pt idx="417">
                  <c:v>0.168178993163</c:v>
                </c:pt>
                <c:pt idx="418">
                  <c:v>0.26367791942300001</c:v>
                </c:pt>
                <c:pt idx="419">
                  <c:v>0.20687070580799999</c:v>
                </c:pt>
                <c:pt idx="420">
                  <c:v>0.17000190585</c:v>
                </c:pt>
                <c:pt idx="421">
                  <c:v>0.15814995925</c:v>
                </c:pt>
                <c:pt idx="422">
                  <c:v>0.190282131661</c:v>
                </c:pt>
                <c:pt idx="423">
                  <c:v>0.18736722843699999</c:v>
                </c:pt>
                <c:pt idx="424">
                  <c:v>0.207564575645</c:v>
                </c:pt>
                <c:pt idx="425">
                  <c:v>0.23572328712599999</c:v>
                </c:pt>
                <c:pt idx="426">
                  <c:v>0.20788277699400001</c:v>
                </c:pt>
                <c:pt idx="427">
                  <c:v>0.16752098655299999</c:v>
                </c:pt>
                <c:pt idx="428">
                  <c:v>0.16386953768199999</c:v>
                </c:pt>
                <c:pt idx="429">
                  <c:v>0.189847189847</c:v>
                </c:pt>
                <c:pt idx="430">
                  <c:v>0.176692517291</c:v>
                </c:pt>
                <c:pt idx="431">
                  <c:v>0.16660876815100001</c:v>
                </c:pt>
                <c:pt idx="432">
                  <c:v>0.23563371524999999</c:v>
                </c:pt>
                <c:pt idx="433">
                  <c:v>0.215679930982</c:v>
                </c:pt>
                <c:pt idx="434">
                  <c:v>0.18173697270399999</c:v>
                </c:pt>
                <c:pt idx="435">
                  <c:v>0.17138759411900001</c:v>
                </c:pt>
                <c:pt idx="436">
                  <c:v>0.18502415458900001</c:v>
                </c:pt>
                <c:pt idx="437">
                  <c:v>0.17940011318599999</c:v>
                </c:pt>
                <c:pt idx="438">
                  <c:v>0.21410357865099999</c:v>
                </c:pt>
                <c:pt idx="439">
                  <c:v>0.23639301221799999</c:v>
                </c:pt>
                <c:pt idx="440">
                  <c:v>0.21805418449</c:v>
                </c:pt>
                <c:pt idx="441">
                  <c:v>0.19858387799499999</c:v>
                </c:pt>
                <c:pt idx="442">
                  <c:v>0.187833401723</c:v>
                </c:pt>
                <c:pt idx="443">
                  <c:v>0.19053030302999999</c:v>
                </c:pt>
                <c:pt idx="444">
                  <c:v>0.218573797678</c:v>
                </c:pt>
                <c:pt idx="445">
                  <c:v>0.22798833819200001</c:v>
                </c:pt>
                <c:pt idx="446">
                  <c:v>0.25069144816900002</c:v>
                </c:pt>
                <c:pt idx="447">
                  <c:v>0.233710148609</c:v>
                </c:pt>
                <c:pt idx="448">
                  <c:v>0.22416974169699999</c:v>
                </c:pt>
                <c:pt idx="449">
                  <c:v>0.230421502748</c:v>
                </c:pt>
                <c:pt idx="450">
                  <c:v>0.252920143027</c:v>
                </c:pt>
                <c:pt idx="451">
                  <c:v>0.188617292958</c:v>
                </c:pt>
                <c:pt idx="452">
                  <c:v>0.236144080916</c:v>
                </c:pt>
                <c:pt idx="453">
                  <c:v>0.25017213679099998</c:v>
                </c:pt>
                <c:pt idx="454">
                  <c:v>0.21015126890800001</c:v>
                </c:pt>
                <c:pt idx="455">
                  <c:v>0.191082802547</c:v>
                </c:pt>
                <c:pt idx="456">
                  <c:v>0.19849046610099999</c:v>
                </c:pt>
                <c:pt idx="457">
                  <c:v>0.205222821458</c:v>
                </c:pt>
                <c:pt idx="458">
                  <c:v>0.18232484076399999</c:v>
                </c:pt>
                <c:pt idx="459">
                  <c:v>0.20659761315</c:v>
                </c:pt>
                <c:pt idx="460">
                  <c:v>0.20719788432700001</c:v>
                </c:pt>
                <c:pt idx="461">
                  <c:v>0.185271317829</c:v>
                </c:pt>
                <c:pt idx="462">
                  <c:v>0.15998902305099999</c:v>
                </c:pt>
                <c:pt idx="463">
                  <c:v>0.17641568139300001</c:v>
                </c:pt>
                <c:pt idx="464">
                  <c:v>0.176079734219</c:v>
                </c:pt>
                <c:pt idx="465">
                  <c:v>0.18847352024899999</c:v>
                </c:pt>
                <c:pt idx="466">
                  <c:v>0.168750840392</c:v>
                </c:pt>
                <c:pt idx="467">
                  <c:v>0.189493166287</c:v>
                </c:pt>
                <c:pt idx="468">
                  <c:v>0.159061277705</c:v>
                </c:pt>
                <c:pt idx="469">
                  <c:v>0.166789125641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7"/>
        <c:majorTimeUnit val="days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772</cdr:x>
      <cdr:y>0.73401</cdr:y>
    </cdr:from>
    <cdr:to>
      <cdr:x>0.95427</cdr:x>
      <cdr:y>0.9568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4185ECFA-F8D8-4695-BB00-7DA6E37AD2EC}"/>
            </a:ext>
          </a:extLst>
        </cdr:cNvPr>
        <cdr:cNvSpPr txBox="1"/>
      </cdr:nvSpPr>
      <cdr:spPr>
        <a:xfrm xmlns:a="http://schemas.openxmlformats.org/drawingml/2006/main" rot="18818831">
          <a:off x="5238995" y="2326229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1508</cdr:x>
      <cdr:y>0.70836</cdr:y>
    </cdr:from>
    <cdr:to>
      <cdr:x>0.95163</cdr:x>
      <cdr:y>0.93115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6D97A712-E7E8-404F-A52D-3AB83F32E756}"/>
            </a:ext>
          </a:extLst>
        </cdr:cNvPr>
        <cdr:cNvSpPr txBox="1"/>
      </cdr:nvSpPr>
      <cdr:spPr>
        <a:xfrm xmlns:a="http://schemas.openxmlformats.org/drawingml/2006/main" rot="18818831">
          <a:off x="5223294" y="2252337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0108</cdr:x>
      <cdr:y>0.71124</cdr:y>
    </cdr:from>
    <cdr:to>
      <cdr:x>0.93763</cdr:x>
      <cdr:y>0.93404</cdr:y>
    </cdr:to>
    <cdr:sp macro="" textlink="">
      <cdr:nvSpPr>
        <cdr:cNvPr id="4" name="TextovéPole 1">
          <a:extLst xmlns:a="http://schemas.openxmlformats.org/drawingml/2006/main">
            <a:ext uri="{FF2B5EF4-FFF2-40B4-BE49-F238E27FC236}">
              <a16:creationId xmlns:a16="http://schemas.microsoft.com/office/drawing/2014/main" id="{19DE17EC-9BB8-4451-BDFD-E609172F85EB}"/>
            </a:ext>
          </a:extLst>
        </cdr:cNvPr>
        <cdr:cNvSpPr txBox="1"/>
      </cdr:nvSpPr>
      <cdr:spPr>
        <a:xfrm xmlns:a="http://schemas.openxmlformats.org/drawingml/2006/main" rot="18818831">
          <a:off x="5140167" y="2260650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1772</cdr:x>
      <cdr:y>0.73401</cdr:y>
    </cdr:from>
    <cdr:to>
      <cdr:x>0.95427</cdr:x>
      <cdr:y>0.9568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4185ECFA-F8D8-4695-BB00-7DA6E37AD2EC}"/>
            </a:ext>
          </a:extLst>
        </cdr:cNvPr>
        <cdr:cNvSpPr txBox="1"/>
      </cdr:nvSpPr>
      <cdr:spPr>
        <a:xfrm xmlns:a="http://schemas.openxmlformats.org/drawingml/2006/main" rot="18818831">
          <a:off x="5238995" y="2326229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91508</cdr:x>
      <cdr:y>0.70836</cdr:y>
    </cdr:from>
    <cdr:to>
      <cdr:x>0.95163</cdr:x>
      <cdr:y>0.93115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6D97A712-E7E8-404F-A52D-3AB83F32E756}"/>
            </a:ext>
          </a:extLst>
        </cdr:cNvPr>
        <cdr:cNvSpPr txBox="1"/>
      </cdr:nvSpPr>
      <cdr:spPr>
        <a:xfrm xmlns:a="http://schemas.openxmlformats.org/drawingml/2006/main" rot="18818831">
          <a:off x="5223294" y="2252337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90108</cdr:x>
      <cdr:y>0.71124</cdr:y>
    </cdr:from>
    <cdr:to>
      <cdr:x>0.93763</cdr:x>
      <cdr:y>0.93404</cdr:y>
    </cdr:to>
    <cdr:sp macro="" textlink="">
      <cdr:nvSpPr>
        <cdr:cNvPr id="4" name="TextovéPole 1">
          <a:extLst xmlns:a="http://schemas.openxmlformats.org/drawingml/2006/main">
            <a:ext uri="{FF2B5EF4-FFF2-40B4-BE49-F238E27FC236}">
              <a16:creationId xmlns:a16="http://schemas.microsoft.com/office/drawing/2014/main" id="{19DE17EC-9BB8-4451-BDFD-E609172F85EB}"/>
            </a:ext>
          </a:extLst>
        </cdr:cNvPr>
        <cdr:cNvSpPr txBox="1"/>
      </cdr:nvSpPr>
      <cdr:spPr>
        <a:xfrm xmlns:a="http://schemas.openxmlformats.org/drawingml/2006/main" rot="18818831">
          <a:off x="5140167" y="2260650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91772</cdr:x>
      <cdr:y>0.73401</cdr:y>
    </cdr:from>
    <cdr:to>
      <cdr:x>0.95427</cdr:x>
      <cdr:y>0.9568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4185ECFA-F8D8-4695-BB00-7DA6E37AD2EC}"/>
            </a:ext>
          </a:extLst>
        </cdr:cNvPr>
        <cdr:cNvSpPr txBox="1"/>
      </cdr:nvSpPr>
      <cdr:spPr>
        <a:xfrm xmlns:a="http://schemas.openxmlformats.org/drawingml/2006/main" rot="18818831">
          <a:off x="5238995" y="2326229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91508</cdr:x>
      <cdr:y>0.70836</cdr:y>
    </cdr:from>
    <cdr:to>
      <cdr:x>0.95163</cdr:x>
      <cdr:y>0.93115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6D97A712-E7E8-404F-A52D-3AB83F32E756}"/>
            </a:ext>
          </a:extLst>
        </cdr:cNvPr>
        <cdr:cNvSpPr txBox="1"/>
      </cdr:nvSpPr>
      <cdr:spPr>
        <a:xfrm xmlns:a="http://schemas.openxmlformats.org/drawingml/2006/main" rot="18818831">
          <a:off x="5223294" y="2252337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90108</cdr:x>
      <cdr:y>0.71124</cdr:y>
    </cdr:from>
    <cdr:to>
      <cdr:x>0.93763</cdr:x>
      <cdr:y>0.93404</cdr:y>
    </cdr:to>
    <cdr:sp macro="" textlink="">
      <cdr:nvSpPr>
        <cdr:cNvPr id="4" name="TextovéPole 1">
          <a:extLst xmlns:a="http://schemas.openxmlformats.org/drawingml/2006/main">
            <a:ext uri="{FF2B5EF4-FFF2-40B4-BE49-F238E27FC236}">
              <a16:creationId xmlns:a16="http://schemas.microsoft.com/office/drawing/2014/main" id="{19DE17EC-9BB8-4451-BDFD-E609172F85EB}"/>
            </a:ext>
          </a:extLst>
        </cdr:cNvPr>
        <cdr:cNvSpPr txBox="1"/>
      </cdr:nvSpPr>
      <cdr:spPr>
        <a:xfrm xmlns:a="http://schemas.openxmlformats.org/drawingml/2006/main" rot="18818831">
          <a:off x="5140167" y="2260650"/>
          <a:ext cx="641644" cy="2171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000" dirty="0"/>
            <a:t>13. týden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1033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9303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906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2310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6741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199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327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478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267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809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549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077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4.svg"/><Relationship Id="rId4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4.svg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4.svg"/><Relationship Id="rId4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4.sv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.svg"/><Relationship Id="rId5" Type="http://schemas.openxmlformats.org/officeDocument/2006/relationships/image" Target="../media/image17.png"/><Relationship Id="rId4" Type="http://schemas.openxmlformats.org/officeDocument/2006/relationships/image" Target="../media/image7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svg"/><Relationship Id="rId5" Type="http://schemas.openxmlformats.org/officeDocument/2006/relationships/image" Target="../media/image13.png"/><Relationship Id="rId4" Type="http://schemas.openxmlformats.org/officeDocument/2006/relationships/image" Target="../media/image19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png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.svg"/><Relationship Id="rId5" Type="http://schemas.openxmlformats.org/officeDocument/2006/relationships/image" Target="../media/image17.png"/><Relationship Id="rId4" Type="http://schemas.openxmlformats.org/officeDocument/2006/relationships/image" Target="../media/image7.sv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38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12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1519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611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894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41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3931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967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5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979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389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20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346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119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928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494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633378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91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9984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590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69298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67449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1777077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E5DF3E9-62C1-4745-823A-6D7216BF2C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9EBB1DD8-049C-4DC4-865B-670ECCC1BC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0B8F6BC-6C17-4E1F-8430-F112AE5ED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4AEA1B8-AA43-438F-A463-B1BC9EFE9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296E2AE-331F-4547-8B24-6018982D5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6795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81B43B-783B-4C77-9518-4AF9F0FD6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541BCDB-67E6-4ADB-9708-B6BDC2288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BB6B8-CF86-40CB-92A3-6CFE69E57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4AEE1F9-76AC-43D2-A469-01DC8190F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B73F07E-5DFC-4BFD-A8DC-1F93AF7FC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01544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90C8933-F171-4FCA-8AF4-9ABAC1C2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FADB897-B5F1-4A1D-9DB2-815B120206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CAAB62E-0A68-434A-98F2-E3C493212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9D35E8C-4AFA-4ABE-AA72-FAF59514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2E51066-932D-4961-B51C-38F9670D7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12707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96BD48-6164-4386-BB7E-D69F4F1D1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561661A-F73C-4B5B-9493-BF9B81676B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2A4FA98-6ABD-44BF-88A5-E852BA8BB0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D076AE-DBFC-4CB5-8FFC-C0BB5E818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4E091C5-E625-4598-B1E6-3F885953F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0ECA2E2-038F-4D15-8B22-BE2A601B4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3345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8042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17C5EC-D4FD-409B-BCEA-81C67F2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F95288A-7692-4288-8064-89566DA69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717422F-CF67-458B-8257-941538B93C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611ED1E-63F2-4E48-9751-C96E138091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45CDB4E9-8C7F-4695-AA9C-FCEDB82BE5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CD5BE80-19D6-4DCB-B280-F8E23D5DC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2266B58-B73D-434E-8E76-1658F85F4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F14DF817-7C62-425D-8000-6B59D5721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84166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E02F693-58EE-4672-BD4C-0201EBE61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3CCDE9D-0684-449D-B101-13110CE84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DB61E3A-D7EB-46DB-AEAB-E7CD5460B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06CBE6C-77F3-490E-A01A-54A03DF59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49322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C8A2ECC-513E-4D0A-9740-7774981F9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FEE1ED7-124E-4945-9FDD-41F9CA408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74A38A2-0A22-4C0C-A87C-64CB95236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45155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EEB7537-C8B7-4597-B6FF-AFBD3ABB5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68028-85C4-4789-9477-06B0BD18EF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1DEF750-34CD-4931-992E-BA63D1C1C5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97B1277-7600-4DB5-BC5E-8B1B065C4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7811C39-222F-4FAD-B07E-3ADEA53C2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8235432-3FBC-43FC-A754-373FC46E3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54021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742B714-80ED-4005-A405-43615470A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7E94801-A074-4B8C-B757-B69FE37EB6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17BBB6E-AD26-4F37-9661-566B5BCC81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5F1F047-462C-4865-96C9-9F42D674B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B49764F-E273-420D-88A4-2CF93C491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52C22BF-1A22-495C-A09D-37AADCD83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37084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2364D47-2261-4726-A626-CA137E850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C777ACA-1D5C-4168-AC03-6FA3CB2E2D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EF2F1B4-0F1F-4113-B68C-6186C252F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412B750-773E-468C-AC61-D1E5DE642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349774A-2C14-4111-97F2-EC2F6B578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8100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58EB29D-A8B1-4704-AEF9-6A01A64E65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2E7D6AC-8E05-49CC-8C8A-A8374E8D0D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F6127B3-2A5B-480B-8BB4-55153F87A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38F06BC-2E99-45BF-AFA9-920584775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C51DB7-1136-4810-8BA3-5BF8A70FF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72331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351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1197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7171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57571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82775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8288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907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686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061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47752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82716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8793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1878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21916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57196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79861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90041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938114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2842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441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91569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43502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6579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75816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38403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51909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6256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94008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2998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á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rtlCol="0" anchor="ctr">
            <a:normAutofit/>
          </a:bodyPr>
          <a:lstStyle>
            <a:lvl1pPr algn="r">
              <a:defRPr sz="5000" spc="200" baseline="0"/>
            </a:lvl1pPr>
          </a:lstStyle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rtlCol="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pPr rtl="0"/>
            <a:r>
              <a:rPr lang="cs-CZ" noProof="0"/>
              <a:t>Kliknutím můžete upravit styl předlohy.</a:t>
            </a:r>
            <a:endParaRPr lang="cs-CZ" noProof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/>
            </a:lvl1pPr>
          </a:lstStyle>
          <a:p>
            <a:pPr rtl="0"/>
            <a:fld id="{76A5465A-B1FE-4D10-8E2E-12E4FACE545D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  <p:cxnSp>
        <p:nvCxnSpPr>
          <p:cNvPr id="8" name="Přímá spojnice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25978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E5F15E39-0F2C-4647-8FCF-1995B7F4DF78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8248523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á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rtlCol="0" anchor="ctr">
            <a:normAutofit/>
          </a:bodyPr>
          <a:lstStyle>
            <a:lvl1pPr algn="r">
              <a:defRPr sz="5000" b="0" spc="200" baseline="0"/>
            </a:lvl1pPr>
          </a:lstStyle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rtlCol="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CF4F870-D27D-4401-B8A5-C167A93E7830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  <p:cxnSp>
        <p:nvCxnSpPr>
          <p:cNvPr id="8" name="Přímá spojnice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651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9C6095B8-11EA-421F-966B-547B4D37D5D6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0324482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9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rtlCol="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rtlCol="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cs-CZ" noProof="0"/>
              <a:t>Po kliknutí můžete upravovat styly textu v předloze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BF9CDA79-6A59-4F5C-A3CA-461E93A0DD6D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770585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4BC0E99-7BD9-4672-8B9D-3878EA795850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28435115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BAD04737-7DBC-4D71-B9AA-0363B2374C14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9881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2388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 rtlCol="0"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 rtlCol="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091818ED-32CB-4648-A2D5-90F68C18BE5E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552846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rtlCol="0" anchor="ctr">
            <a:normAutofit/>
          </a:bodyPr>
          <a:lstStyle>
            <a:lvl1pPr algn="r">
              <a:defRPr sz="5000" spc="200" baseline="0"/>
            </a:lvl1pPr>
          </a:lstStyle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obrázku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rtlCol="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cs-CZ" noProof="0"/>
              <a:t>Kliknutím na ikonu přidáte obrázek.</a:t>
            </a:r>
            <a:endParaRPr lang="cs-CZ" noProof="0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rtlCol="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09A9F4C-2151-427E-9DCB-D88B37F434F6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867E5644-1E61-4311-A31E-84CB9C7AA8A9}" type="slidenum">
              <a:rPr lang="cs-CZ" noProof="0" smtClean="0"/>
              <a:t>‹#›</a:t>
            </a:fld>
            <a:endParaRPr lang="cs-CZ" noProof="0" dirty="0"/>
          </a:p>
        </p:txBody>
      </p:sp>
      <p:cxnSp>
        <p:nvCxnSpPr>
          <p:cNvPr id="8" name="Přímá spojnice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57803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8A0F179-20D5-40DE-8D2A-5A21AA776BBA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135426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 rtlCol="0"/>
          <a:lstStyle/>
          <a:p>
            <a:pPr rtl="0"/>
            <a:r>
              <a:rPr lang="cs-CZ" noProof="0"/>
              <a:t>Kliknutím lze upravit styl.</a:t>
            </a:r>
            <a:endParaRPr lang="cs-CZ" noProof="0" dirty="0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 rtlCol="0"/>
          <a:lstStyle/>
          <a:p>
            <a:pPr lvl="0" rtl="0"/>
            <a:r>
              <a:rPr lang="cs-CZ" noProof="0"/>
              <a:t>Po kliknutí můžete upravovat styly textu v předloze.</a:t>
            </a:r>
          </a:p>
          <a:p>
            <a:pPr lvl="1" rtl="0"/>
            <a:r>
              <a:rPr lang="cs-CZ" noProof="0"/>
              <a:t>Druhá úroveň</a:t>
            </a:r>
          </a:p>
          <a:p>
            <a:pPr lvl="2" rtl="0"/>
            <a:r>
              <a:rPr lang="cs-CZ" noProof="0"/>
              <a:t>Třetí úroveň</a:t>
            </a:r>
          </a:p>
          <a:p>
            <a:pPr lvl="3" rtl="0"/>
            <a:r>
              <a:rPr lang="cs-CZ" noProof="0"/>
              <a:t>Čtvrtá úroveň</a:t>
            </a:r>
          </a:p>
          <a:p>
            <a:pPr lvl="4" rtl="0"/>
            <a:r>
              <a:rPr lang="cs-CZ" noProof="0"/>
              <a:t>Pátá úroveň</a:t>
            </a:r>
            <a:endParaRPr lang="cs-CZ" noProof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0AD82126-8CE3-413A-B2FB-F3B45F4EABB9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4FAB73BC-B049-4115-A692-8D63A059BFB8}" type="slidenum">
              <a:rPr lang="cs-CZ" noProof="0" smtClean="0"/>
              <a:t>‹#›</a:t>
            </a:fld>
            <a:endParaRPr lang="cs-CZ" noProof="0" dirty="0"/>
          </a:p>
        </p:txBody>
      </p:sp>
      <p:cxnSp>
        <p:nvCxnSpPr>
          <p:cNvPr id="7" name="Přímá spojnice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269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105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4.sv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7.sv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51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8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cs-CZ" noProof="0" dirty="0"/>
              <a:t>Kliknutím můžet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 rtl="0"/>
            <a:r>
              <a:rPr lang="cs-CZ" noProof="0" dirty="0"/>
              <a:t>Kliknutím můžete upravit styly předlohy textu.</a:t>
            </a:r>
          </a:p>
          <a:p>
            <a:pPr lvl="1" rtl="0"/>
            <a:r>
              <a:rPr lang="cs-CZ" noProof="0" dirty="0"/>
              <a:t>Druhá úroveň</a:t>
            </a:r>
          </a:p>
          <a:p>
            <a:pPr lvl="2" rtl="0"/>
            <a:r>
              <a:rPr lang="cs-CZ" noProof="0" dirty="0"/>
              <a:t>Třetí úroveň</a:t>
            </a:r>
          </a:p>
          <a:p>
            <a:pPr lvl="3" rtl="0"/>
            <a:r>
              <a:rPr lang="cs-CZ" noProof="0" dirty="0"/>
              <a:t>Čtvrtá úroveň</a:t>
            </a:r>
          </a:p>
          <a:p>
            <a:pPr lvl="4" rtl="0"/>
            <a:r>
              <a:rPr lang="cs-CZ" noProof="0" dirty="0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rtl="0"/>
            <a:fld id="{71650906-2103-4445-A61B-40C230A96C5C}" type="datetime1">
              <a:rPr lang="cs-CZ" noProof="0" smtClean="0"/>
              <a:t>13.04.2022</a:t>
            </a:fld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rtl="0"/>
            <a:endParaRPr lang="cs-CZ" noProof="0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rtl="0"/>
            <a:fld id="{4FAB73BC-B049-4115-A692-8D63A059BFB8}" type="slidenum">
              <a:rPr lang="cs-CZ" noProof="0" smtClean="0"/>
              <a:pPr rtl="0"/>
              <a:t>‹#›</a:t>
            </a:fld>
            <a:endParaRPr lang="cs-CZ" noProof="0" dirty="0"/>
          </a:p>
        </p:txBody>
      </p:sp>
      <p:cxnSp>
        <p:nvCxnSpPr>
          <p:cNvPr id="7" name="Přímá spojnice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141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182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61433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2928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410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DBC079C-B4DA-40CF-A388-906CE9912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D84CBAA-B983-4013-8B61-110ECD403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F2611F3-43BB-4F17-93A2-2EB2B6A661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5F079A-B969-4D3B-9E26-A76BF6458036}" type="datetimeFigureOut">
              <a:rPr lang="cs-CZ" smtClean="0"/>
              <a:t>13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8CCD38-9444-4B91-9637-67BD43E8AA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CC1DF30-0952-45DB-971A-5E04E1584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C79ADA-515F-4E7E-84BD-B3429DED268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740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6778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09428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097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image" Target="../media/image27.png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image" Target="../media/image23.pn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image" Target="../media/image26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slideLayout" Target="../slideLayouts/slideLayout22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image" Target="../media/image25.pn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image" Target="../media/image24.png"/><Relationship Id="rId8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chart" Target="../charts/chart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slideLayout" Target="../slideLayouts/slideLayout30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7.xml"/><Relationship Id="rId4" Type="http://schemas.openxmlformats.org/officeDocument/2006/relationships/tags" Target="../tags/tag7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7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47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85.xml"/><Relationship Id="rId9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chart" Target="../charts/char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chart" Target="../charts/chart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chart" Target="../charts/chart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chart" Target="../charts/chart15.xml"/><Relationship Id="rId5" Type="http://schemas.openxmlformats.org/officeDocument/2006/relationships/tags" Target="../tags/tag12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30.emf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31.emf"/><Relationship Id="rId4" Type="http://schemas.openxmlformats.org/officeDocument/2006/relationships/image" Target="../media/image28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chart" Target="../charts/chart18.xml"/><Relationship Id="rId4" Type="http://schemas.openxmlformats.org/officeDocument/2006/relationships/notesSlide" Target="../notesSlides/notesSlide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chart" Target="../charts/chart19.xml"/><Relationship Id="rId4" Type="http://schemas.openxmlformats.org/officeDocument/2006/relationships/notesSlide" Target="../notesSlides/notesSlide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chart" Target="../charts/chart20.xml"/><Relationship Id="rId4" Type="http://schemas.openxmlformats.org/officeDocument/2006/relationships/notesSlide" Target="../notesSlides/notesSlide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chart" Target="../charts/chart22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chart" Target="../charts/chart21.xml"/><Relationship Id="rId5" Type="http://schemas.openxmlformats.org/officeDocument/2006/relationships/slideLayout" Target="../slideLayouts/slideLayout57.xml"/><Relationship Id="rId4" Type="http://schemas.openxmlformats.org/officeDocument/2006/relationships/tags" Target="../tags/tag15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chart" Target="../charts/chart23.xml"/><Relationship Id="rId4" Type="http://schemas.openxmlformats.org/officeDocument/2006/relationships/tags" Target="../tags/tag161.xml"/><Relationship Id="rId9" Type="http://schemas.openxmlformats.org/officeDocument/2006/relationships/notesSlide" Target="../notesSlides/notesSlide1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10" Type="http://schemas.openxmlformats.org/officeDocument/2006/relationships/chart" Target="../charts/chart24.xml"/><Relationship Id="rId4" Type="http://schemas.openxmlformats.org/officeDocument/2006/relationships/tags" Target="../tags/tag168.xml"/><Relationship Id="rId9" Type="http://schemas.openxmlformats.org/officeDocument/2006/relationships/notesSlide" Target="../notesSlides/notesSlide1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174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slideLayout" Target="../slideLayouts/slideLayout71.xml"/><Relationship Id="rId11" Type="http://schemas.openxmlformats.org/officeDocument/2006/relationships/chart" Target="../charts/chart28.xml"/><Relationship Id="rId5" Type="http://schemas.openxmlformats.org/officeDocument/2006/relationships/tags" Target="../tags/tag176.xml"/><Relationship Id="rId10" Type="http://schemas.openxmlformats.org/officeDocument/2006/relationships/chart" Target="../charts/chart27.xml"/><Relationship Id="rId4" Type="http://schemas.openxmlformats.org/officeDocument/2006/relationships/tags" Target="../tags/tag175.xml"/><Relationship Id="rId9" Type="http://schemas.openxmlformats.org/officeDocument/2006/relationships/chart" Target="../charts/char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.xml"/><Relationship Id="rId3" Type="http://schemas.openxmlformats.org/officeDocument/2006/relationships/tags" Target="../tags/tag179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slideLayout" Target="../slideLayouts/slideLayout71.xml"/><Relationship Id="rId11" Type="http://schemas.openxmlformats.org/officeDocument/2006/relationships/chart" Target="../charts/chart32.xml"/><Relationship Id="rId5" Type="http://schemas.openxmlformats.org/officeDocument/2006/relationships/tags" Target="../tags/tag181.xml"/><Relationship Id="rId10" Type="http://schemas.openxmlformats.org/officeDocument/2006/relationships/chart" Target="../charts/chart31.xml"/><Relationship Id="rId4" Type="http://schemas.openxmlformats.org/officeDocument/2006/relationships/tags" Target="../tags/tag180.xml"/><Relationship Id="rId9" Type="http://schemas.openxmlformats.org/officeDocument/2006/relationships/chart" Target="../charts/chart3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184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slideLayout" Target="../slideLayouts/slideLayout71.xml"/><Relationship Id="rId11" Type="http://schemas.openxmlformats.org/officeDocument/2006/relationships/chart" Target="../charts/chart36.xml"/><Relationship Id="rId5" Type="http://schemas.openxmlformats.org/officeDocument/2006/relationships/tags" Target="../tags/tag186.xml"/><Relationship Id="rId10" Type="http://schemas.openxmlformats.org/officeDocument/2006/relationships/chart" Target="../charts/chart35.xml"/><Relationship Id="rId4" Type="http://schemas.openxmlformats.org/officeDocument/2006/relationships/tags" Target="../tags/tag185.xml"/><Relationship Id="rId9" Type="http://schemas.openxmlformats.org/officeDocument/2006/relationships/chart" Target="../charts/chart3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assets.publishing.service.gov.uk/government/uploads/system/uploads/attachment_data/file/1067672/Technical-Briefing-40-8April2022.pdf" TargetMode="External"/><Relationship Id="rId1" Type="http://schemas.openxmlformats.org/officeDocument/2006/relationships/slideLayout" Target="../slideLayouts/slideLayout7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chart" Target="../charts/chart6.xml"/><Relationship Id="rId5" Type="http://schemas.openxmlformats.org/officeDocument/2006/relationships/tags" Target="../tags/tag26.xml"/><Relationship Id="rId10" Type="http://schemas.openxmlformats.org/officeDocument/2006/relationships/chart" Target="../charts/chart5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513426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13. 4. 2022</a:t>
            </a:r>
          </a:p>
          <a:p>
            <a:r>
              <a:rPr lang="cs-CZ" sz="4800" b="1" dirty="0"/>
              <a:t>Souhrnný přehled aktuálních dat a trend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996406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Obrázek 42">
            <a:extLst>
              <a:ext uri="{FF2B5EF4-FFF2-40B4-BE49-F238E27FC236}">
                <a16:creationId xmlns:a16="http://schemas.microsoft.com/office/drawing/2014/main" id="{192C6692-B395-449E-95A1-E1E23DA008E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3835531" y="1290941"/>
            <a:ext cx="4469332" cy="2361730"/>
          </a:xfrm>
          <a:prstGeom prst="rect">
            <a:avLst/>
          </a:prstGeom>
        </p:spPr>
      </p:pic>
      <p:pic>
        <p:nvPicPr>
          <p:cNvPr id="34" name="Obrázek 33">
            <a:extLst>
              <a:ext uri="{FF2B5EF4-FFF2-40B4-BE49-F238E27FC236}">
                <a16:creationId xmlns:a16="http://schemas.microsoft.com/office/drawing/2014/main" id="{408DE2D6-32C4-4D91-B1F9-B547B2B0AAF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30"/>
          <a:srcRect l="7378" t="841" b="-841"/>
          <a:stretch/>
        </p:blipFill>
        <p:spPr>
          <a:xfrm>
            <a:off x="18898" y="1206076"/>
            <a:ext cx="4142092" cy="2405386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334280" y="459394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490266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521139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5520118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582884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6" y="449927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6" y="481056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6" y="512185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6" y="543314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6" y="5744434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0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613756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644629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574036" y="6055724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6367016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334280" y="4319274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574036" y="4255386"/>
            <a:ext cx="9380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0334280" y="4028932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574036" y="3965044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0334280" y="3762545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0574036" y="3679198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</a:t>
            </a:r>
          </a:p>
        </p:txBody>
      </p:sp>
      <p:sp>
        <p:nvSpPr>
          <p:cNvPr id="35" name="TextBox 29">
            <a:extLst>
              <a:ext uri="{FF2B5EF4-FFF2-40B4-BE49-F238E27FC236}">
                <a16:creationId xmlns:a16="http://schemas.microsoft.com/office/drawing/2014/main" id="{AB61C4E2-5E23-40AB-AB20-902A270E295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464672" y="765507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 02. 2022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E1D798C9-5BB4-461D-B53E-0E960A84912B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740432" y="765507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 03. 2022</a:t>
            </a:r>
          </a:p>
        </p:txBody>
      </p:sp>
      <p:sp>
        <p:nvSpPr>
          <p:cNvPr id="2" name="Šipka: doprava 1">
            <a:extLst>
              <a:ext uri="{FF2B5EF4-FFF2-40B4-BE49-F238E27FC236}">
                <a16:creationId xmlns:a16="http://schemas.microsoft.com/office/drawing/2014/main" id="{F65614B2-57FC-4499-873D-9E9A6EC274A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385322" y="5211392"/>
            <a:ext cx="708234" cy="403978"/>
          </a:xfrm>
          <a:prstGeom prst="rightArrow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3537C72B-6874-4A0F-B08A-8DB93F14FEC8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64671" y="3995061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 03. 2022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60DFD602-6EE2-4DD9-8603-69EA74395A12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1"/>
          <a:stretch>
            <a:fillRect/>
          </a:stretch>
        </p:blipFill>
        <p:spPr>
          <a:xfrm>
            <a:off x="7977623" y="1403251"/>
            <a:ext cx="3940480" cy="2236559"/>
          </a:xfrm>
          <a:prstGeom prst="rect">
            <a:avLst/>
          </a:prstGeom>
        </p:spPr>
      </p:pic>
      <p:sp>
        <p:nvSpPr>
          <p:cNvPr id="38" name="TextBox 29">
            <a:extLst>
              <a:ext uri="{FF2B5EF4-FFF2-40B4-BE49-F238E27FC236}">
                <a16:creationId xmlns:a16="http://schemas.microsoft.com/office/drawing/2014/main" id="{BD88D410-281A-4B08-986D-2BABFB89766B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9016192" y="765507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 03. 2022</a:t>
            </a:r>
          </a:p>
        </p:txBody>
      </p:sp>
      <p:pic>
        <p:nvPicPr>
          <p:cNvPr id="40" name="Obrázek 39">
            <a:extLst>
              <a:ext uri="{FF2B5EF4-FFF2-40B4-BE49-F238E27FC236}">
                <a16:creationId xmlns:a16="http://schemas.microsoft.com/office/drawing/2014/main" id="{C3A9987A-DDE3-42D5-82D6-120B8D556208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2"/>
          <a:stretch>
            <a:fillRect/>
          </a:stretch>
        </p:blipFill>
        <p:spPr>
          <a:xfrm>
            <a:off x="293562" y="4342149"/>
            <a:ext cx="3916318" cy="2381340"/>
          </a:xfrm>
          <a:prstGeom prst="rect">
            <a:avLst/>
          </a:prstGeom>
        </p:spPr>
      </p:pic>
      <p:sp>
        <p:nvSpPr>
          <p:cNvPr id="37" name="Podnadpis 2">
            <a:extLst>
              <a:ext uri="{FF2B5EF4-FFF2-40B4-BE49-F238E27FC236}">
                <a16:creationId xmlns:a16="http://schemas.microsoft.com/office/drawing/2014/main" id="{F77A3FB9-B2F0-4EFB-943D-890801676D20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3273556" y="4488823"/>
            <a:ext cx="2577465" cy="9312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klesá ve všech regionech</a:t>
            </a:r>
          </a:p>
        </p:txBody>
      </p:sp>
      <p:sp>
        <p:nvSpPr>
          <p:cNvPr id="36" name="TextBox 29">
            <a:extLst>
              <a:ext uri="{FF2B5EF4-FFF2-40B4-BE49-F238E27FC236}">
                <a16:creationId xmlns:a16="http://schemas.microsoft.com/office/drawing/2014/main" id="{C1BD3BE7-6DB1-4DEF-98AA-5535D454621D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6852362" y="3995061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7. 04. 2022</a:t>
            </a:r>
          </a:p>
        </p:txBody>
      </p:sp>
      <p:pic>
        <p:nvPicPr>
          <p:cNvPr id="39" name="Obrázek 38">
            <a:extLst>
              <a:ext uri="{FF2B5EF4-FFF2-40B4-BE49-F238E27FC236}">
                <a16:creationId xmlns:a16="http://schemas.microsoft.com/office/drawing/2014/main" id="{4ED34014-B4DD-4EC7-9A60-D94B94E2B208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87366" y="4328336"/>
            <a:ext cx="4575115" cy="241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501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4017EDDB-B32A-4BE0-898A-6E922001600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7962" y="2756738"/>
          <a:ext cx="12439653" cy="4539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Po</a:t>
            </a:r>
            <a:r>
              <a:rPr lang="cs-CZ" sz="2400" dirty="0" err="1"/>
              <a:t>čty</a:t>
            </a:r>
            <a:r>
              <a:rPr lang="cs-CZ" sz="2400" dirty="0"/>
              <a:t> realizovaných PCR testů v čase 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00184" y="2489632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96415" y="2515433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139548" y="2491254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8"/>
            </p:custDataLst>
          </p:nvPr>
        </p:nvSpPr>
        <p:spPr>
          <a:xfrm>
            <a:off x="206835" y="627935"/>
            <a:ext cx="1177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CR testů je stabilní, denní průměr se pohybuje nad 20 000 testů.</a:t>
            </a:r>
          </a:p>
        </p:txBody>
      </p:sp>
      <p:graphicFrame>
        <p:nvGraphicFramePr>
          <p:cNvPr id="16" name="Tabulka 8">
            <a:extLst>
              <a:ext uri="{FF2B5EF4-FFF2-40B4-BE49-F238E27FC236}">
                <a16:creationId xmlns:a16="http://schemas.microsoft.com/office/drawing/2014/main" id="{F0F9C019-F3F8-4327-9BE1-DF88A29A8EE7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182485" y="1049201"/>
          <a:ext cx="11797686" cy="1483320"/>
        </p:xfrm>
        <a:graphic>
          <a:graphicData uri="http://schemas.openxmlformats.org/drawingml/2006/table">
            <a:tbl>
              <a:tblPr firstRow="1" bandRow="1"/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poče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28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47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56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22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50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06 testů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2 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1 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,6 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6,1 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3 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1" name="Zahnutá šipka nahoru 25">
            <a:extLst>
              <a:ext uri="{FF2B5EF4-FFF2-40B4-BE49-F238E27FC236}">
                <a16:creationId xmlns:a16="http://schemas.microsoft.com/office/drawing/2014/main" id="{4DA51123-8A80-4C92-A1EE-B24AEFDBC90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162231" y="2488331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6092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testů v ČR</a:t>
            </a:r>
          </a:p>
        </p:txBody>
      </p:sp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C5CEEB84-F215-46CC-8B8D-4DB20680ADD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46869" y="576002"/>
          <a:ext cx="3153360" cy="2075183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um*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pozitivních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48695" y="264503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955ECA9-C12D-463A-87BF-C5E848D6EE7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267006" y="859599"/>
            <a:ext cx="59481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týdnech se zastavil růst relativní pozitivity diagnostických testů, která nyní osciluje na hranici 28,5 %. V nejvíce zatížených regionech hodnota stále překračuje 38 %. </a:t>
            </a:r>
          </a:p>
        </p:txBody>
      </p:sp>
    </p:spTree>
    <p:extLst>
      <p:ext uri="{BB962C8B-B14F-4D97-AF65-F5344CB8AC3E}">
        <p14:creationId xmlns:p14="http://schemas.microsoft.com/office/powerpoint/2010/main" val="30196967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test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A11C1904-4002-4181-A5AD-2C063C768D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497774" y="584107"/>
          <a:ext cx="3153360" cy="2075183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um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pozitivních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 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54232" y="266763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2E90075-8FD9-4D30-B55E-17CFAA3FA3D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119042" y="1068653"/>
            <a:ext cx="6183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ativní pozitivita epidemiologicky indikovaných testů klesla pod 20%. </a:t>
            </a:r>
          </a:p>
        </p:txBody>
      </p:sp>
    </p:spTree>
    <p:extLst>
      <p:ext uri="{BB962C8B-B14F-4D97-AF65-F5344CB8AC3E}">
        <p14:creationId xmlns:p14="http://schemas.microsoft.com/office/powerpoint/2010/main" val="27886226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73804" y="3693109"/>
            <a:ext cx="11644392" cy="2317166"/>
          </a:xfrm>
        </p:spPr>
        <p:txBody>
          <a:bodyPr>
            <a:normAutofit lnSpcReduction="10000"/>
          </a:bodyPr>
          <a:lstStyle/>
          <a:p>
            <a:r>
              <a:rPr lang="cs-CZ" sz="4800" b="1" dirty="0"/>
              <a:t>Pokles populační zátěže potvrzuje i současný</a:t>
            </a:r>
          </a:p>
          <a:p>
            <a:r>
              <a:rPr lang="cs-CZ" sz="4800" b="1" dirty="0"/>
              <a:t> vývoj počtu nákaz zdravotnických </a:t>
            </a:r>
          </a:p>
          <a:p>
            <a:r>
              <a:rPr lang="cs-CZ" sz="4800" b="1" dirty="0"/>
              <a:t>a sociálních pracovník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880501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4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8 (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1 (4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8 (5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13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8128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91070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8128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3751224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8. 4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175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1482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5569588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0" y="3693109"/>
            <a:ext cx="11644392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Zátěž nemocnic 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15017951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6">
            <a:extLst>
              <a:ext uri="{FF2B5EF4-FFF2-40B4-BE49-F238E27FC236}">
                <a16:creationId xmlns:a16="http://schemas.microsoft.com/office/drawing/2014/main" id="{EB159DF7-B11B-469E-BD1D-7F4974518F9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238260"/>
              </p:ext>
            </p:extLst>
          </p:nvPr>
        </p:nvGraphicFramePr>
        <p:xfrm>
          <a:off x="4648363" y="1762145"/>
          <a:ext cx="7357204" cy="50316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39301">
                  <a:extLst>
                    <a:ext uri="{9D8B030D-6E8A-4147-A177-3AD203B41FA5}">
                      <a16:colId xmlns:a16="http://schemas.microsoft.com/office/drawing/2014/main" val="4009980678"/>
                    </a:ext>
                  </a:extLst>
                </a:gridCol>
                <a:gridCol w="1839301">
                  <a:extLst>
                    <a:ext uri="{9D8B030D-6E8A-4147-A177-3AD203B41FA5}">
                      <a16:colId xmlns:a16="http://schemas.microsoft.com/office/drawing/2014/main" val="1433759002"/>
                    </a:ext>
                  </a:extLst>
                </a:gridCol>
                <a:gridCol w="1839301">
                  <a:extLst>
                    <a:ext uri="{9D8B030D-6E8A-4147-A177-3AD203B41FA5}">
                      <a16:colId xmlns:a16="http://schemas.microsoft.com/office/drawing/2014/main" val="1494907381"/>
                    </a:ext>
                  </a:extLst>
                </a:gridCol>
                <a:gridCol w="1839301">
                  <a:extLst>
                    <a:ext uri="{9D8B030D-6E8A-4147-A177-3AD203B41FA5}">
                      <a16:colId xmlns:a16="http://schemas.microsoft.com/office/drawing/2014/main" val="3238491952"/>
                    </a:ext>
                  </a:extLst>
                </a:gridCol>
              </a:tblGrid>
              <a:tr h="323487"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.03.2022</a:t>
                      </a:r>
                    </a:p>
                  </a:txBody>
                  <a:tcPr marL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4.03.2022</a:t>
                      </a:r>
                    </a:p>
                  </a:txBody>
                  <a:tcPr marL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1.03.2022</a:t>
                      </a:r>
                    </a:p>
                  </a:txBody>
                  <a:tcPr marL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.04.2022</a:t>
                      </a:r>
                    </a:p>
                  </a:txBody>
                  <a:tcPr marL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70142"/>
                  </a:ext>
                </a:extLst>
              </a:tr>
              <a:tr h="882163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0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6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3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2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35688928"/>
                  </a:ext>
                </a:extLst>
              </a:tr>
              <a:tr h="882163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59864018"/>
                  </a:ext>
                </a:extLst>
              </a:tr>
              <a:tr h="882163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49312001"/>
                  </a:ext>
                </a:extLst>
              </a:tr>
              <a:tr h="672626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32385690"/>
                  </a:ext>
                </a:extLst>
              </a:tr>
              <a:tr h="6945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3921867"/>
                  </a:ext>
                </a:extLst>
              </a:tr>
              <a:tr h="6945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cs-CZ" sz="3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92575662"/>
                  </a:ext>
                </a:extLst>
              </a:tr>
            </a:tbl>
          </a:graphicData>
        </a:graphic>
      </p:graphicFrame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351163"/>
              </p:ext>
            </p:extLst>
          </p:nvPr>
        </p:nvGraphicFramePr>
        <p:xfrm>
          <a:off x="102909" y="2081622"/>
          <a:ext cx="5207872" cy="4848960"/>
        </p:xfrm>
        <a:graphic>
          <a:graphicData uri="http://schemas.openxmlformats.org/drawingml/2006/table">
            <a:tbl>
              <a:tblPr/>
              <a:tblGrid>
                <a:gridCol w="5207872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8580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 z toho JIP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 z toho UPV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 z toho ECMO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3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ůměrné denní příjm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55030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ůměrné denní příjmy na JI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4680703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908806" y="1156305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182833"/>
            <a:ext cx="12034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 dolů 1">
            <a:extLst>
              <a:ext uri="{FF2B5EF4-FFF2-40B4-BE49-F238E27FC236}">
                <a16:creationId xmlns:a16="http://schemas.microsoft.com/office/drawing/2014/main" id="{9439222D-DC59-45CF-87A2-46D0557CCBA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973276" y="1156303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lů 1">
            <a:extLst>
              <a:ext uri="{FF2B5EF4-FFF2-40B4-BE49-F238E27FC236}">
                <a16:creationId xmlns:a16="http://schemas.microsoft.com/office/drawing/2014/main" id="{45BF1CD5-0C4F-4E71-8685-A88D97A7D14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822500" y="1156304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lů 1">
            <a:extLst>
              <a:ext uri="{FF2B5EF4-FFF2-40B4-BE49-F238E27FC236}">
                <a16:creationId xmlns:a16="http://schemas.microsoft.com/office/drawing/2014/main" id="{9B964331-01A5-47E3-B6C0-DF4B47691AD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823370" y="1156303"/>
            <a:ext cx="756703" cy="36350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5246BBD7-35FE-42D6-BD05-C45822CA090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703527" y="5354958"/>
            <a:ext cx="9331311" cy="0"/>
          </a:xfrm>
          <a:prstGeom prst="line">
            <a:avLst/>
          </a:prstGeom>
          <a:ln w="381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4206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57FBF-827C-445F-9DAB-6997B6CCAC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204594" y="939567"/>
            <a:ext cx="604008" cy="2486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4E11B39-2C45-4539-B0BD-5905477A04D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66581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5" name="Rectangle 4">
            <a:extLst>
              <a:ext uri="{FF2B5EF4-FFF2-40B4-BE49-F238E27FC236}">
                <a16:creationId xmlns:a16="http://schemas.microsoft.com/office/drawing/2014/main" id="{2A3FCDB0-324F-43C4-AA3E-3312CD28636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960804" y="17051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D844A8BE-0FAF-4DC9-8D9D-8DA0ECDE9D0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28585" y="5394356"/>
            <a:ext cx="3899632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zdravotního dopadu varianty Omikron. </a:t>
            </a: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3243BCE4-7169-48B7-A369-F2B3C3AEFBD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6" y="2392646"/>
            <a:ext cx="37220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ní hranice spolehlivosti predikce</a:t>
            </a:r>
          </a:p>
        </p:txBody>
      </p: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C7932C5E-EA19-4438-A7AE-4979A0E052A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C5BC5111-45B1-4105-9B11-69BFA82CECE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8083495" y="2552457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82D35DC4-379E-4783-9592-CAAA999EFEF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25">
            <a:extLst>
              <a:ext uri="{FF2B5EF4-FFF2-40B4-BE49-F238E27FC236}">
                <a16:creationId xmlns:a16="http://schemas.microsoft.com/office/drawing/2014/main" id="{186CA131-ED3D-4FDF-858B-448F237408E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49507" y="3496526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39" name="TextovéPole 29">
            <a:extLst>
              <a:ext uri="{FF2B5EF4-FFF2-40B4-BE49-F238E27FC236}">
                <a16:creationId xmlns:a16="http://schemas.microsoft.com/office/drawing/2014/main" id="{E9AFC37D-128B-4D7C-BF58-B43404853B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515495" y="2915598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40" name="Přímá spojnice 32">
            <a:extLst>
              <a:ext uri="{FF2B5EF4-FFF2-40B4-BE49-F238E27FC236}">
                <a16:creationId xmlns:a16="http://schemas.microsoft.com/office/drawing/2014/main" id="{F1CB6AA2-8EB8-4E03-BDAE-A4EB49E390D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083495" y="3075409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DE7B153-30C1-4C1D-B714-AE982E2DD87D}"/>
              </a:ext>
            </a:extLst>
          </p:cNvPr>
          <p:cNvSpPr txBox="1"/>
          <p:nvPr/>
        </p:nvSpPr>
        <p:spPr>
          <a:xfrm>
            <a:off x="1181208" y="551324"/>
            <a:ext cx="107495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é příjmy pacientů do nemocnic narostly během nástupu varianty Omikron ve shodě s realistickým prediktivním scénářem až k hodnotě 700 denně. Většina hospitalizací ale probíhá relativně krátce a bez potřeby vysoce intenzivní péče. V důsledku toho nedošlo k nezvládnutelné eskalaci počtu hospitalizovaných, i když jejich počty v jednom dni narostly až přes 4 000. V tomto trendu se projevuje jednak ochranný efekt očkování a jednak prokazatelná nižší virulence nové varianty viru. U neočkovaných potenciálně zranitelných osob avšak Omikron vyvolává těžký průběh nákazy s rizikem srovnatelným s variantou Delta. Na JIP je v nejtěžším stavu léčeno cca 70 – 75% neočkovaných pacientů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418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ručný souhrn a popis situace </a:t>
            </a:r>
          </a:p>
        </p:txBody>
      </p:sp>
    </p:spTree>
    <p:extLst>
      <p:ext uri="{BB962C8B-B14F-4D97-AF65-F5344CB8AC3E}">
        <p14:creationId xmlns:p14="http://schemas.microsoft.com/office/powerpoint/2010/main" val="14861883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95246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FF715CD6-F15A-4F00-AF1C-2ABF83B907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960804" y="17051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34" name="TextovéPole 25">
            <a:extLst>
              <a:ext uri="{FF2B5EF4-FFF2-40B4-BE49-F238E27FC236}">
                <a16:creationId xmlns:a16="http://schemas.microsoft.com/office/drawing/2014/main" id="{53BE902C-F84D-406F-8132-87A986D6C2D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28585" y="5394356"/>
            <a:ext cx="3899632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zdravotního dopadu varianty Omikron. </a:t>
            </a:r>
          </a:p>
        </p:txBody>
      </p:sp>
      <p:sp>
        <p:nvSpPr>
          <p:cNvPr id="36" name="TextovéPole 30">
            <a:extLst>
              <a:ext uri="{FF2B5EF4-FFF2-40B4-BE49-F238E27FC236}">
                <a16:creationId xmlns:a16="http://schemas.microsoft.com/office/drawing/2014/main" id="{960C2E43-C8F8-430A-84EA-F4FE4F2C887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38" name="Přímá spojnice 33">
            <a:extLst>
              <a:ext uri="{FF2B5EF4-FFF2-40B4-BE49-F238E27FC236}">
                <a16:creationId xmlns:a16="http://schemas.microsoft.com/office/drawing/2014/main" id="{DF7F0474-3631-44A5-B076-409F536F4F5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25">
            <a:extLst>
              <a:ext uri="{FF2B5EF4-FFF2-40B4-BE49-F238E27FC236}">
                <a16:creationId xmlns:a16="http://schemas.microsoft.com/office/drawing/2014/main" id="{9FBE7CD3-A813-4D43-9B4F-A7713E28D5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49507" y="3496526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40" name="TextovéPole 29">
            <a:extLst>
              <a:ext uri="{FF2B5EF4-FFF2-40B4-BE49-F238E27FC236}">
                <a16:creationId xmlns:a16="http://schemas.microsoft.com/office/drawing/2014/main" id="{9EFD3ECE-4F7E-4D2A-AE3D-CC17B82DE23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15495" y="2915598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41" name="Přímá spojnice 32">
            <a:extLst>
              <a:ext uri="{FF2B5EF4-FFF2-40B4-BE49-F238E27FC236}">
                <a16:creationId xmlns:a16="http://schemas.microsoft.com/office/drawing/2014/main" id="{AE3AFE3D-1543-4815-B6DE-4BA37CE2B80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83495" y="3075409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004FFF0-F8D5-49F7-AD49-92D6D656DA19}"/>
              </a:ext>
            </a:extLst>
          </p:cNvPr>
          <p:cNvSpPr txBox="1"/>
          <p:nvPr/>
        </p:nvSpPr>
        <p:spPr>
          <a:xfrm>
            <a:off x="1181208" y="551324"/>
            <a:ext cx="107495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é příjmy pacientů do nemocnic narostly během nástupu varianty Omikron ve shodě s realistickým prediktivním scénářem až k hodnotě 700 denně. Většina hospitalizací ale probíhá relativně krátce a bez potřeby vysoce intenzivní péče. V důsledku toho nedošlo k nezvládnutelné eskalaci počtu hospitalizovaných, i když jejich počty v jednom dni narostly až přes 4 000. V tomto trendu se projevuje jednak ochranný efekt očkování a jednak prokazatelná nižší virulence nové varianty viru. U neočkovaných potenciálně zranitelných osob avšak Omikron vyvolává těžký průběh nákazy s rizikem srovnatelným s variantou Delta. Na JIP je v nejtěžším stavu léčeno cca 70 – 75% neočkovaných pacientů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7366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175025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1" name="Rectangle 4">
            <a:extLst>
              <a:ext uri="{FF2B5EF4-FFF2-40B4-BE49-F238E27FC236}">
                <a16:creationId xmlns:a16="http://schemas.microsoft.com/office/drawing/2014/main" id="{4E0DCC2B-BB4D-4E66-A4FF-78E2A1C374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960804" y="17051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2" name="TextovéPole 25">
            <a:extLst>
              <a:ext uri="{FF2B5EF4-FFF2-40B4-BE49-F238E27FC236}">
                <a16:creationId xmlns:a16="http://schemas.microsoft.com/office/drawing/2014/main" id="{11C00670-E8D1-4DD1-AF8F-DFDB10F2290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28585" y="5394356"/>
            <a:ext cx="3899632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zdravotního dopadu varianty Omikron. </a:t>
            </a:r>
          </a:p>
        </p:txBody>
      </p:sp>
      <p:sp>
        <p:nvSpPr>
          <p:cNvPr id="25" name="TextovéPole 30">
            <a:extLst>
              <a:ext uri="{FF2B5EF4-FFF2-40B4-BE49-F238E27FC236}">
                <a16:creationId xmlns:a16="http://schemas.microsoft.com/office/drawing/2014/main" id="{9AF6A938-FA88-47AE-BBCC-9F19B4C1A48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27" name="Přímá spojnice 33">
            <a:extLst>
              <a:ext uri="{FF2B5EF4-FFF2-40B4-BE49-F238E27FC236}">
                <a16:creationId xmlns:a16="http://schemas.microsoft.com/office/drawing/2014/main" id="{0CF4C876-EE24-4F26-9EF7-46A1130D45B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5">
            <a:extLst>
              <a:ext uri="{FF2B5EF4-FFF2-40B4-BE49-F238E27FC236}">
                <a16:creationId xmlns:a16="http://schemas.microsoft.com/office/drawing/2014/main" id="{30285EC7-4C0A-4EEA-893D-FF76A8D3109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49507" y="3496526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29" name="TextovéPole 29">
            <a:extLst>
              <a:ext uri="{FF2B5EF4-FFF2-40B4-BE49-F238E27FC236}">
                <a16:creationId xmlns:a16="http://schemas.microsoft.com/office/drawing/2014/main" id="{7B6BFF92-2358-4F45-97A8-771AA9C99EE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15495" y="2915598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31" name="Přímá spojnice 32">
            <a:extLst>
              <a:ext uri="{FF2B5EF4-FFF2-40B4-BE49-F238E27FC236}">
                <a16:creationId xmlns:a16="http://schemas.microsoft.com/office/drawing/2014/main" id="{76915F51-ABB8-4AA3-9E74-FE74845AD32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83495" y="3075409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4B0A4A5-8121-41D3-846B-53E70D785998}"/>
              </a:ext>
            </a:extLst>
          </p:cNvPr>
          <p:cNvSpPr txBox="1"/>
          <p:nvPr/>
        </p:nvSpPr>
        <p:spPr>
          <a:xfrm>
            <a:off x="1181208" y="551324"/>
            <a:ext cx="107495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é příjmy pacientů do nemocnic narostly během nástupu varianty Omikron ve shodě s realistickým prediktivním scénářem až k hodnotě 700 denně. Většina hospitalizací ale probíhá relativně krátce a bez potřeby vysoce intenzivní péče. V důsledku toho nedošlo k nezvládnutelné eskalaci počtu hospitalizovaných, i když jejich počty v jednom dni narostly až přes 4 000. V tomto trendu se projevuje jednak ochranný efekt očkování a jednak prokazatelná nižší virulence nové varianty viru. U neočkovaných potenciálně zranitelných osob avšak Omikron vyvolává těžký průběh nákazy s rizikem srovnatelným s variantou Delta. Na JIP je v nejtěžším stavu léčeno cca 70 – 75% neočkovaných pacientů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8891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DF5EA4B-36A8-4D56-AEEB-041F35A94A7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58537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9" name="Rectangle 4">
            <a:extLst>
              <a:ext uri="{FF2B5EF4-FFF2-40B4-BE49-F238E27FC236}">
                <a16:creationId xmlns:a16="http://schemas.microsoft.com/office/drawing/2014/main" id="{7C9C9A45-027C-4BC8-8982-82B3F6BD1F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60804" y="1649692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F580350F-C76E-4A84-8219-4F6042FC8C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28585" y="5338940"/>
            <a:ext cx="3899632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zdravotního dopadu varianty Omikron. </a:t>
            </a: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29178341-047A-4C04-8D62-88BD7E42F7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44737" y="4923422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C787794C-EAD8-4644-8E03-D0F4C73602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073767" y="503885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5">
            <a:extLst>
              <a:ext uri="{FF2B5EF4-FFF2-40B4-BE49-F238E27FC236}">
                <a16:creationId xmlns:a16="http://schemas.microsoft.com/office/drawing/2014/main" id="{564ABC14-8F99-460D-8853-22153233838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49507" y="3441110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36" name="TextovéPole 29">
            <a:extLst>
              <a:ext uri="{FF2B5EF4-FFF2-40B4-BE49-F238E27FC236}">
                <a16:creationId xmlns:a16="http://schemas.microsoft.com/office/drawing/2014/main" id="{64577C56-CD24-4265-8477-87692D44B7B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15495" y="2860182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37" name="Přímá spojnice 32">
            <a:extLst>
              <a:ext uri="{FF2B5EF4-FFF2-40B4-BE49-F238E27FC236}">
                <a16:creationId xmlns:a16="http://schemas.microsoft.com/office/drawing/2014/main" id="{BA8F444C-9DF6-4B51-B1AD-92C91AC1B2A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83495" y="3019993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16383CD-C240-4E34-A6B7-35B566123E52}"/>
              </a:ext>
            </a:extLst>
          </p:cNvPr>
          <p:cNvSpPr txBox="1"/>
          <p:nvPr/>
        </p:nvSpPr>
        <p:spPr>
          <a:xfrm>
            <a:off x="1181208" y="551324"/>
            <a:ext cx="107495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é příjmy pacientů do nemocnic narostly během nástupu varianty Omikron ve shodě s realistickým prediktivním scénářem až k hodnotě 700 denně. Většina hospitalizací ale probíhá relativně krátce a bez potřeby vysoce intenzivní péče. V důsledku toho nedošlo k nezvládnutelné eskalaci počtu hospitalizovaných, i když jejich počty v jednom dni narostly až přes 4 000. V tomto trendu se projevuje jednak ochranný efekt očkování a jednak prokazatelná nižší virulence nové varianty viru. U neočkovaných potenciálně zranitelných osob avšak Omikron vyvolává těžký průběh nákazy s rizikem srovnatelným s variantou Delta. Na JIP je v nejtěžším stavu léčeno cca 70 – 75% neočkovaných pacientů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2072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73804" y="3693109"/>
            <a:ext cx="11644392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Základním faktorem determinujícím zdravotní dopad Omikronu je ochranný             efekt vakcinace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831733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56945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dním faktorem pro kontrolu epidemie je i v éře Omikronu očkování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338CCE3-5676-40F7-AB2D-9C68067124F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8232" y="2188734"/>
            <a:ext cx="119609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je stále zásadní a vysoký. Klesá sice ochrana proti nákaze samotné u očkování dvěma  dávkami, ale posilující dávka ji vrací zpět na více než </a:t>
            </a:r>
            <a:r>
              <a:rPr lang="cs-CZ" sz="2800" b="1" dirty="0">
                <a:solidFill>
                  <a:srgbClr val="0000FF"/>
                </a:solidFill>
                <a:latin typeface="Calibri" panose="020F0502020204030204"/>
              </a:rPr>
              <a:t>25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 Ochrana proti těžkému průběhu nemoci je trvalá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zranitelných skupin &gt; 80%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DC120E18-942E-46B4-B850-DA276A093EE5}"/>
              </a:ext>
            </a:extLst>
          </p:cNvPr>
          <p:cNvSpPr/>
          <p:nvPr/>
        </p:nvSpPr>
        <p:spPr>
          <a:xfrm>
            <a:off x="5380148" y="4379494"/>
            <a:ext cx="1357162" cy="4523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7338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dním faktorem pro kontrolu epidemie je i v éře Omikronu očkování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F07CD92-F73A-4E7A-A721-AB8240E90EA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537797"/>
              </p:ext>
            </p:extLst>
          </p:nvPr>
        </p:nvGraphicFramePr>
        <p:xfrm>
          <a:off x="530960" y="1608442"/>
          <a:ext cx="5113165" cy="27959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521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861040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BEZ POSILUJÍCÍ DÁVKY *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8040A901-D706-4C97-B281-2DCEC649E8A7}"/>
              </a:ext>
            </a:extLst>
          </p:cNvPr>
          <p:cNvSpPr txBox="1"/>
          <p:nvPr/>
        </p:nvSpPr>
        <p:spPr>
          <a:xfrm>
            <a:off x="397326" y="4614103"/>
            <a:ext cx="9585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</a:t>
            </a:r>
            <a:endParaRPr lang="en-US" sz="1200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D98D5AB-5660-436A-8638-8C11FADBE9B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385395"/>
              </p:ext>
            </p:extLst>
          </p:nvPr>
        </p:nvGraphicFramePr>
        <p:xfrm>
          <a:off x="6547877" y="1608442"/>
          <a:ext cx="5124774" cy="27959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6373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861040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S POSILUJÍCÍ DÁVKOU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35011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29131" y="163863"/>
            <a:ext cx="11675486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hospitalizovaných s COVID-19 na JIP na 100tis. osob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čkované a neočkované populaci (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65+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750BEB04-CF14-4212-8481-97203DDCF60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988465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Tabulka 6">
            <a:extLst>
              <a:ext uri="{FF2B5EF4-FFF2-40B4-BE49-F238E27FC236}">
                <a16:creationId xmlns:a16="http://schemas.microsoft.com/office/drawing/2014/main" id="{C89F5364-CCEF-4C2B-B75F-361E1E5F27A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4985893"/>
              </p:ext>
            </p:extLst>
          </p:nvPr>
        </p:nvGraphicFramePr>
        <p:xfrm>
          <a:off x="3957415" y="1001904"/>
          <a:ext cx="4277169" cy="20816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77169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A2DBAB4-B20C-4803-8947-7E1CEB783781}"/>
              </a:ext>
            </a:extLst>
          </p:cNvPr>
          <p:cNvGrpSpPr/>
          <p:nvPr/>
        </p:nvGrpSpPr>
        <p:grpSpPr>
          <a:xfrm>
            <a:off x="3455900" y="146644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56AE52B-13A9-41C0-BE63-FA99067EE77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6CC6CD7-FA55-4444-886F-7A9E5C8655E0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3D7C549-A00C-4AF8-A4CD-6FAAAD2BBA63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04907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29131" y="163863"/>
            <a:ext cx="11821458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hospitalizovaných s COVID-19 na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V/ECMO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tis. osob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očkované a neočkované populaci (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65+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D90E4329-D699-4840-B707-ED0456B01D5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434796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Tabulka 6">
            <a:extLst>
              <a:ext uri="{FF2B5EF4-FFF2-40B4-BE49-F238E27FC236}">
                <a16:creationId xmlns:a16="http://schemas.microsoft.com/office/drawing/2014/main" id="{5B6C3493-BC6B-418A-BF2C-16DE1301E2B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1234247"/>
              </p:ext>
            </p:extLst>
          </p:nvPr>
        </p:nvGraphicFramePr>
        <p:xfrm>
          <a:off x="3957415" y="1001904"/>
          <a:ext cx="4277169" cy="20816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77169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1" name="Skupina 10">
            <a:extLst>
              <a:ext uri="{FF2B5EF4-FFF2-40B4-BE49-F238E27FC236}">
                <a16:creationId xmlns:a16="http://schemas.microsoft.com/office/drawing/2014/main" id="{1369D8B1-5807-48CB-BDA5-B36E0EBF3780}"/>
              </a:ext>
            </a:extLst>
          </p:cNvPr>
          <p:cNvGrpSpPr/>
          <p:nvPr/>
        </p:nvGrpSpPr>
        <p:grpSpPr>
          <a:xfrm>
            <a:off x="3455900" y="1466448"/>
            <a:ext cx="501515" cy="1254265"/>
            <a:chOff x="8290713" y="1759987"/>
            <a:chExt cx="501515" cy="1250887"/>
          </a:xfrm>
        </p:grpSpPr>
        <p:cxnSp>
          <p:nvCxnSpPr>
            <p:cNvPr id="12" name="Přímá spojnice 11">
              <a:extLst>
                <a:ext uri="{FF2B5EF4-FFF2-40B4-BE49-F238E27FC236}">
                  <a16:creationId xmlns:a16="http://schemas.microsoft.com/office/drawing/2014/main" id="{C006DAEE-F9AA-4E69-AB41-31A8C05D882E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0B3D073-6F01-4D5B-BB8A-91782F149913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56ED1E8F-888E-4B7E-8260-E7FBA5BD5B98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93382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5B4AFDAB-EFF6-46E9-B089-95F29CBC1B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" y="123986"/>
            <a:ext cx="3840766" cy="2194013"/>
          </a:xfrm>
          <a:prstGeom prst="rect">
            <a:avLst/>
          </a:prstGeom>
        </p:spPr>
      </p:pic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92602" y="411836"/>
            <a:ext cx="11821458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latin typeface="Calibri" panose="020F0502020204030204"/>
              </a:rPr>
              <a:t>Doklad ochranného efektu vakcinace na datech z Velké Británie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2F21B8A-83D4-4B59-8481-51369F222F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6916" y="1729494"/>
            <a:ext cx="10005084" cy="5128506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63A7FB0B-6121-4C8D-B368-F6840B4832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411" y="4510767"/>
            <a:ext cx="21050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z UK jsou téměř shodn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českými hodnotami 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98D55FE-D403-477D-8DAD-BF5A4A95D746}"/>
              </a:ext>
            </a:extLst>
          </p:cNvPr>
          <p:cNvSpPr/>
          <p:nvPr/>
        </p:nvSpPr>
        <p:spPr>
          <a:xfrm>
            <a:off x="4664990" y="5951349"/>
            <a:ext cx="6896746" cy="697424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Šipka: doprava 6">
            <a:extLst>
              <a:ext uri="{FF2B5EF4-FFF2-40B4-BE49-F238E27FC236}">
                <a16:creationId xmlns:a16="http://schemas.microsoft.com/office/drawing/2014/main" id="{053AE4E1-E312-4682-BAE2-699DAE7387B5}"/>
              </a:ext>
            </a:extLst>
          </p:cNvPr>
          <p:cNvSpPr/>
          <p:nvPr/>
        </p:nvSpPr>
        <p:spPr>
          <a:xfrm>
            <a:off x="2246427" y="6105201"/>
            <a:ext cx="2075118" cy="340963"/>
          </a:xfrm>
          <a:prstGeom prst="rightArrow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7335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5B4AFDAB-EFF6-46E9-B089-95F29CBC1B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" y="123986"/>
            <a:ext cx="3840766" cy="2194013"/>
          </a:xfrm>
          <a:prstGeom prst="rect">
            <a:avLst/>
          </a:prstGeom>
        </p:spPr>
      </p:pic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99652" y="413860"/>
            <a:ext cx="11292348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latin typeface="Calibri" panose="020F0502020204030204"/>
              </a:rPr>
              <a:t>Doklad ochranného efektu vakcinace na datech z Velké Británie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3A7FB0B-6121-4C8D-B368-F6840B4832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411" y="3401878"/>
            <a:ext cx="21050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z UK jsou téměř shodn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českými hodnotami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104B565-87C5-40EF-981A-175FAC13F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0738" y="1759096"/>
            <a:ext cx="9099851" cy="4974918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365AB3AB-FDBB-42EF-8013-FA7A3CBCD387}"/>
              </a:ext>
            </a:extLst>
          </p:cNvPr>
          <p:cNvSpPr txBox="1"/>
          <p:nvPr/>
        </p:nvSpPr>
        <p:spPr>
          <a:xfrm>
            <a:off x="4599006" y="971588"/>
            <a:ext cx="68347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 err="1"/>
              <a:t>Vaccine</a:t>
            </a:r>
            <a:r>
              <a:rPr lang="cs-CZ" sz="2000" b="1" dirty="0"/>
              <a:t> </a:t>
            </a:r>
            <a:r>
              <a:rPr lang="cs-CZ" sz="2000" b="1" dirty="0" err="1"/>
              <a:t>effectiveness</a:t>
            </a:r>
            <a:r>
              <a:rPr lang="cs-CZ" sz="2000" b="1" dirty="0"/>
              <a:t> </a:t>
            </a:r>
            <a:r>
              <a:rPr lang="cs-CZ" sz="2000" b="1" dirty="0" err="1"/>
              <a:t>against</a:t>
            </a:r>
            <a:r>
              <a:rPr lang="cs-CZ" sz="2000" b="1" dirty="0"/>
              <a:t> </a:t>
            </a:r>
            <a:r>
              <a:rPr lang="cs-CZ" sz="2000" b="1" dirty="0" err="1"/>
              <a:t>symptomatic</a:t>
            </a:r>
            <a:r>
              <a:rPr lang="cs-CZ" sz="2000" b="1" dirty="0"/>
              <a:t> </a:t>
            </a:r>
            <a:r>
              <a:rPr lang="cs-CZ" sz="2000" b="1" dirty="0" err="1"/>
              <a:t>disease</a:t>
            </a:r>
            <a:endParaRPr lang="cs-CZ" sz="2000" b="1" dirty="0"/>
          </a:p>
          <a:p>
            <a:pPr algn="ctr"/>
            <a:r>
              <a:rPr lang="cs-CZ" sz="2000" b="1" dirty="0"/>
              <a:t>(mRNA-1273: Moderna; BNT162b2: </a:t>
            </a:r>
            <a:r>
              <a:rPr lang="cs-CZ" sz="2000" b="1" dirty="0" err="1"/>
              <a:t>Pfizer</a:t>
            </a:r>
            <a:r>
              <a:rPr lang="cs-CZ" sz="2000" b="1" dirty="0"/>
              <a:t>)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346300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251" y="63821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ukazuje na významný pokles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79519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8739230"/>
              </p:ext>
            </p:extLst>
          </p:nvPr>
        </p:nvGraphicFramePr>
        <p:xfrm>
          <a:off x="931755" y="631456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6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0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cs-CZ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tuální odhad R pro ČR: 0,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48048"/>
            <a:ext cx="1944000" cy="497840"/>
          </a:xfrm>
          <a:prstGeom prst="curvedUpArrow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Podnadpis 2">
            <a:extLst>
              <a:ext uri="{FF2B5EF4-FFF2-40B4-BE49-F238E27FC236}">
                <a16:creationId xmlns:a16="http://schemas.microsoft.com/office/drawing/2014/main" id="{1B4DADDC-A04B-4F77-AB43-7791B156D63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722810" y="3211960"/>
            <a:ext cx="5081988" cy="12401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populace v současnosti klesá, hodnota reprodukčního čísla se pohybuje v intervalu 0,7 – 0,9 ve všech regionech. </a:t>
            </a:r>
          </a:p>
        </p:txBody>
      </p:sp>
    </p:spTree>
    <p:extLst>
      <p:ext uri="{BB962C8B-B14F-4D97-AF65-F5344CB8AC3E}">
        <p14:creationId xmlns:p14="http://schemas.microsoft.com/office/powerpoint/2010/main" val="12881736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5B4AFDAB-EFF6-46E9-B089-95F29CBC1B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411" y="123986"/>
            <a:ext cx="3840766" cy="2194013"/>
          </a:xfrm>
          <a:prstGeom prst="rect">
            <a:avLst/>
          </a:prstGeom>
        </p:spPr>
      </p:pic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92602" y="411836"/>
            <a:ext cx="11821458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latin typeface="Calibri" panose="020F0502020204030204"/>
              </a:rPr>
              <a:t>Doklad ochranného efektu vakcinace na datech z Velké Británie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3A7FB0B-6121-4C8D-B368-F6840B4832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41411" y="3401878"/>
            <a:ext cx="21050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z UK jsou téměř shodná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českými hodnotami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65AB3AB-FDBB-42EF-8013-FA7A3CBCD387}"/>
              </a:ext>
            </a:extLst>
          </p:cNvPr>
          <p:cNvSpPr txBox="1"/>
          <p:nvPr/>
        </p:nvSpPr>
        <p:spPr>
          <a:xfrm>
            <a:off x="4468498" y="1020937"/>
            <a:ext cx="68347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 err="1"/>
              <a:t>Vaccine</a:t>
            </a:r>
            <a:r>
              <a:rPr lang="cs-CZ" sz="2000" b="1" dirty="0"/>
              <a:t> </a:t>
            </a:r>
            <a:r>
              <a:rPr lang="cs-CZ" sz="2000" b="1" dirty="0" err="1"/>
              <a:t>effectiveness</a:t>
            </a:r>
            <a:r>
              <a:rPr lang="cs-CZ" sz="2000" b="1" dirty="0"/>
              <a:t> </a:t>
            </a:r>
            <a:r>
              <a:rPr lang="cs-CZ" sz="2000" b="1" dirty="0" err="1"/>
              <a:t>against</a:t>
            </a:r>
            <a:r>
              <a:rPr lang="cs-CZ" sz="2000" b="1" dirty="0"/>
              <a:t> </a:t>
            </a:r>
            <a:r>
              <a:rPr lang="cs-CZ" sz="2000" b="1" dirty="0" err="1"/>
              <a:t>symptomatic</a:t>
            </a:r>
            <a:r>
              <a:rPr lang="cs-CZ" sz="2000" b="1" dirty="0"/>
              <a:t> </a:t>
            </a:r>
            <a:r>
              <a:rPr lang="cs-CZ" sz="2000" b="1" dirty="0" err="1"/>
              <a:t>disease</a:t>
            </a:r>
            <a:endParaRPr lang="cs-CZ" sz="2000" b="1" dirty="0"/>
          </a:p>
          <a:p>
            <a:pPr algn="ctr"/>
            <a:r>
              <a:rPr lang="cs-CZ" sz="2000" b="1" dirty="0"/>
              <a:t>(mRNA-1273: Moderna; BNT162b2: </a:t>
            </a:r>
            <a:r>
              <a:rPr lang="cs-CZ" sz="2000" b="1" dirty="0" err="1"/>
              <a:t>Pfizer</a:t>
            </a:r>
            <a:r>
              <a:rPr lang="cs-CZ" sz="2000" b="1" dirty="0"/>
              <a:t>)</a:t>
            </a:r>
            <a:endParaRPr lang="en-US" sz="2000" b="1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9EC36C8-DD9C-4AB9-92DA-3FF0660A6A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0599" y="1951424"/>
            <a:ext cx="9368973" cy="4782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8180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Časový vývoj rizikových indikátorů v krajích </a:t>
            </a:r>
          </a:p>
        </p:txBody>
      </p:sp>
    </p:spTree>
    <p:extLst>
      <p:ext uri="{BB962C8B-B14F-4D97-AF65-F5344CB8AC3E}">
        <p14:creationId xmlns:p14="http://schemas.microsoft.com/office/powerpoint/2010/main" val="29992708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811194" cy="576000"/>
          </a:xfrm>
        </p:spPr>
        <p:txBody>
          <a:bodyPr/>
          <a:lstStyle/>
          <a:p>
            <a:r>
              <a:rPr lang="cs-CZ" dirty="0"/>
              <a:t>Časový vývoj vybraných ukazatelů: relativní pozitivita indikovaných testů ve věku 65+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B0C2A3B-15AA-4DC0-941F-58EA49FB78D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37087"/>
              </p:ext>
            </p:extLst>
          </p:nvPr>
        </p:nvGraphicFramePr>
        <p:xfrm>
          <a:off x="209986" y="785513"/>
          <a:ext cx="11887625" cy="5741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DF69644B-4307-45FC-B4F9-5EABE52C9821}"/>
              </a:ext>
            </a:extLst>
          </p:cNvPr>
          <p:cNvSpPr txBox="1"/>
          <p:nvPr/>
        </p:nvSpPr>
        <p:spPr>
          <a:xfrm>
            <a:off x="94388" y="785513"/>
            <a:ext cx="4900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8181869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11640216" cy="576000"/>
          </a:xfrm>
        </p:spPr>
        <p:txBody>
          <a:bodyPr/>
          <a:lstStyle/>
          <a:p>
            <a:r>
              <a:rPr lang="cs-CZ" dirty="0"/>
              <a:t>Časový vývoj vybraných ukazatelů: 7denní počet symptomatických případů na 100 000 obyv.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B0C2A3B-15AA-4DC0-941F-58EA49FB78D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268812"/>
              </p:ext>
            </p:extLst>
          </p:nvPr>
        </p:nvGraphicFramePr>
        <p:xfrm>
          <a:off x="209986" y="785513"/>
          <a:ext cx="11887625" cy="5741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400336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9459846" cy="576000"/>
          </a:xfrm>
        </p:spPr>
        <p:txBody>
          <a:bodyPr/>
          <a:lstStyle/>
          <a:p>
            <a:r>
              <a:rPr lang="cs-CZ" dirty="0"/>
              <a:t>Časový vývoj vybraných ukazatelů: </a:t>
            </a:r>
            <a:br>
              <a:rPr lang="cs-CZ" dirty="0"/>
            </a:br>
            <a:r>
              <a:rPr lang="cs-CZ" dirty="0"/>
              <a:t>7denní počet nových příjmů na JIP (včetně překladů) na 100 000 obyvatel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B0C2A3B-15AA-4DC0-941F-58EA49FB78D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174836"/>
              </p:ext>
            </p:extLst>
          </p:nvPr>
        </p:nvGraphicFramePr>
        <p:xfrm>
          <a:off x="209986" y="785513"/>
          <a:ext cx="11887625" cy="5741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524580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/ 100 tisíc obyvatel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7397466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93109"/>
            <a:ext cx="12192000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ukazatele v mezinárodním srovnání </a:t>
            </a:r>
          </a:p>
        </p:txBody>
      </p:sp>
    </p:spTree>
    <p:extLst>
      <p:ext uri="{BB962C8B-B14F-4D97-AF65-F5344CB8AC3E}">
        <p14:creationId xmlns:p14="http://schemas.microsoft.com/office/powerpoint/2010/main" val="3040118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denního kumulativního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čtu potvrzených případů onemocnění od 26. týdne roku 2021 (28.6.—4.7.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3. týdne roku 2022 (28.3.—3.4.)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ého na 100 tisíc osob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.: U Velké Británie nejsou dostupné údaje o počtu potvrzených případů za 52. týden roku 2021, a proto nebyla u této země pro 52. a 1. týden analýza provedena.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7472" y="464853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3669" y="523285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3822" y="541673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85509" y="503532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veřejňované hodnoty a rozdíly mezi státy odrážejí zejména rozdílné testovací strategie. Státy také různě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80758" y="414016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75023" y="452722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81374" y="500073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81962" y="433464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4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3.4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433652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0" y="687141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Německo</a:t>
            </a:r>
            <a:endParaRPr lang="cs-CZ" sz="1700" dirty="0">
              <a:latin typeface="+mj-lt"/>
            </a:endParaRP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9F320AFA-BCC5-46C8-8EF5-D81D770977F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0" y="3646469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65E78472-36B4-43E2-AED5-92CECAC1B65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52000" y="678830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Zástupný symbol pro obsah 6">
            <a:extLst>
              <a:ext uri="{FF2B5EF4-FFF2-40B4-BE49-F238E27FC236}">
                <a16:creationId xmlns:a16="http://schemas.microsoft.com/office/drawing/2014/main" id="{9D1346F2-47E5-473D-BCE3-B8CD1FAC81C7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6252000" y="3553652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698571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089959"/>
              </p:ext>
            </p:extLst>
          </p:nvPr>
        </p:nvGraphicFramePr>
        <p:xfrm>
          <a:off x="556549" y="1494124"/>
          <a:ext cx="11354940" cy="5329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2106348" y="223966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2386090" y="2197900"/>
            <a:ext cx="36195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2. 3. 2022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218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4877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9824006" y="674374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. 4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48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84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3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0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894622" y="633994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D90FC8C-A0A3-4025-9DAC-A2967E0370DD}"/>
              </a:ext>
            </a:extLst>
          </p:cNvPr>
          <p:cNvSpPr txBox="1"/>
          <p:nvPr/>
        </p:nvSpPr>
        <p:spPr>
          <a:xfrm>
            <a:off x="1735659" y="98331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E33C7563-1DCE-4A3B-8AE8-FBF1171A4F53}"/>
              </a:ext>
            </a:extLst>
          </p:cNvPr>
          <p:cNvCxnSpPr>
            <a:cxnSpLocks/>
          </p:cNvCxnSpPr>
          <p:nvPr/>
        </p:nvCxnSpPr>
        <p:spPr>
          <a:xfrm>
            <a:off x="1441406" y="113835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CC9EE453-45DC-42CD-A61F-730C1791F211}"/>
              </a:ext>
            </a:extLst>
          </p:cNvPr>
          <p:cNvSpPr txBox="1"/>
          <p:nvPr/>
        </p:nvSpPr>
        <p:spPr>
          <a:xfrm>
            <a:off x="1735659" y="119078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0E9CF0EC-FB65-47A3-A571-2F101A3DACA9}"/>
              </a:ext>
            </a:extLst>
          </p:cNvPr>
          <p:cNvCxnSpPr>
            <a:cxnSpLocks/>
          </p:cNvCxnSpPr>
          <p:nvPr/>
        </p:nvCxnSpPr>
        <p:spPr>
          <a:xfrm>
            <a:off x="1441406" y="136166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5BD2EAE-B357-4FE4-BC41-939A8B50C3B7}"/>
              </a:ext>
            </a:extLst>
          </p:cNvPr>
          <p:cNvCxnSpPr>
            <a:cxnSpLocks/>
          </p:cNvCxnSpPr>
          <p:nvPr/>
        </p:nvCxnSpPr>
        <p:spPr>
          <a:xfrm>
            <a:off x="1441406" y="17758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4EDB006-DE3B-40AE-916D-67248B04788B}"/>
              </a:ext>
            </a:extLst>
          </p:cNvPr>
          <p:cNvSpPr txBox="1"/>
          <p:nvPr/>
        </p:nvSpPr>
        <p:spPr>
          <a:xfrm>
            <a:off x="1735659" y="1617112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21. 3. 2022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1359E92-50FF-4D3F-9AA6-DBCC9F298EAA}"/>
              </a:ext>
            </a:extLst>
          </p:cNvPr>
          <p:cNvSpPr txBox="1"/>
          <p:nvPr/>
        </p:nvSpPr>
        <p:spPr>
          <a:xfrm>
            <a:off x="1736151" y="1410636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36694A9-7DDA-41A0-8C74-1D09992F8DE3}"/>
              </a:ext>
            </a:extLst>
          </p:cNvPr>
          <p:cNvCxnSpPr>
            <a:cxnSpLocks/>
          </p:cNvCxnSpPr>
          <p:nvPr/>
        </p:nvCxnSpPr>
        <p:spPr>
          <a:xfrm>
            <a:off x="1441406" y="1561845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odnadpis 2">
            <a:extLst>
              <a:ext uri="{FF2B5EF4-FFF2-40B4-BE49-F238E27FC236}">
                <a16:creationId xmlns:a16="http://schemas.microsoft.com/office/drawing/2014/main" id="{9A160C72-F50D-4DFF-B972-888ACCA4642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198324" y="2270479"/>
            <a:ext cx="4570731" cy="13982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populace v současnosti klesá, hodnota reprodukčního čísla se pohybuje v intervalu 0,7 – 0,9 ve všech regionech. </a:t>
            </a:r>
          </a:p>
        </p:txBody>
      </p:sp>
    </p:spTree>
    <p:extLst>
      <p:ext uri="{BB962C8B-B14F-4D97-AF65-F5344CB8AC3E}">
        <p14:creationId xmlns:p14="http://schemas.microsoft.com/office/powerpoint/2010/main" val="79703540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FA7DC6A-C5E0-47D8-A164-45490114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ěmecko</a:t>
            </a:r>
            <a:br>
              <a:rPr lang="cs-CZ" dirty="0"/>
            </a:br>
            <a:r>
              <a:rPr lang="cs-CZ" sz="1200" dirty="0"/>
              <a:t>ZDROJ: ROBERT Koch Institute</a:t>
            </a:r>
            <a:endParaRPr lang="cs-CZ" dirty="0"/>
          </a:p>
        </p:txBody>
      </p:sp>
      <p:pic>
        <p:nvPicPr>
          <p:cNvPr id="7" name="Zástupný obsah 6">
            <a:extLst>
              <a:ext uri="{FF2B5EF4-FFF2-40B4-BE49-F238E27FC236}">
                <a16:creationId xmlns:a16="http://schemas.microsoft.com/office/drawing/2014/main" id="{CFDDA9DA-7591-4C2C-83D7-E4DE7375566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82292" y="1886666"/>
            <a:ext cx="5581472" cy="4665110"/>
          </a:xfrm>
        </p:spPr>
      </p:pic>
      <p:pic>
        <p:nvPicPr>
          <p:cNvPr id="11" name="Zástupný obsah 10">
            <a:extLst>
              <a:ext uri="{FF2B5EF4-FFF2-40B4-BE49-F238E27FC236}">
                <a16:creationId xmlns:a16="http://schemas.microsoft.com/office/drawing/2014/main" id="{43E51F80-5A45-4339-BFC5-BFA82391354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378222" y="2084832"/>
            <a:ext cx="5642057" cy="4059252"/>
          </a:xfrm>
        </p:spPr>
      </p:pic>
    </p:spTree>
    <p:extLst>
      <p:ext uri="{BB962C8B-B14F-4D97-AF65-F5344CB8AC3E}">
        <p14:creationId xmlns:p14="http://schemas.microsoft.com/office/powerpoint/2010/main" val="34483509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433652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0" y="687141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Rakousko</a:t>
            </a:r>
            <a:endParaRPr lang="cs-CZ" sz="1700" dirty="0">
              <a:latin typeface="+mj-lt"/>
            </a:endParaRP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9F320AFA-BCC5-46C8-8EF5-D81D770977F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0" y="3646469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65E78472-36B4-43E2-AED5-92CECAC1B65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52000" y="678830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Zástupný symbol pro obsah 6">
            <a:extLst>
              <a:ext uri="{FF2B5EF4-FFF2-40B4-BE49-F238E27FC236}">
                <a16:creationId xmlns:a16="http://schemas.microsoft.com/office/drawing/2014/main" id="{9D1346F2-47E5-473D-BCE3-B8CD1FAC81C7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6252000" y="3553652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6207612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558401-41EC-4AAD-BF91-9EF4D5B7F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akousko</a:t>
            </a:r>
            <a:br>
              <a:rPr lang="cs-CZ" dirty="0"/>
            </a:br>
            <a:r>
              <a:rPr kumimoji="0" lang="cs-CZ" sz="12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ZDROJ: AGES DASHBOARD </a:t>
            </a:r>
            <a:endParaRPr lang="cs-CZ" dirty="0"/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B32CCEC1-F1AA-454A-AA5C-B32476C5E55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22774" y="1985816"/>
            <a:ext cx="5324013" cy="4286968"/>
          </a:xfrm>
          <a:prstGeom prst="rect">
            <a:avLst/>
          </a:prstGeom>
        </p:spPr>
      </p:pic>
      <p:pic>
        <p:nvPicPr>
          <p:cNvPr id="11" name="Zástupný obsah 10">
            <a:extLst>
              <a:ext uri="{FF2B5EF4-FFF2-40B4-BE49-F238E27FC236}">
                <a16:creationId xmlns:a16="http://schemas.microsoft.com/office/drawing/2014/main" id="{A2788001-8242-41AF-988D-20C37C5D7EF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884164" y="2084832"/>
            <a:ext cx="6145670" cy="390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8820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433652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0" y="687141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lovensko</a:t>
            </a:r>
            <a:endParaRPr lang="cs-CZ" sz="1700" dirty="0">
              <a:latin typeface="+mj-lt"/>
            </a:endParaRP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9F320AFA-BCC5-46C8-8EF5-D81D770977F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0" y="3646469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65E78472-36B4-43E2-AED5-92CECAC1B65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52000" y="678830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Zástupný symbol pro obsah 6">
            <a:extLst>
              <a:ext uri="{FF2B5EF4-FFF2-40B4-BE49-F238E27FC236}">
                <a16:creationId xmlns:a16="http://schemas.microsoft.com/office/drawing/2014/main" id="{9D1346F2-47E5-473D-BCE3-B8CD1FAC81C7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6252000" y="3553652"/>
          <a:ext cx="594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9342948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CA740F-6F79-4FA9-92E2-1E8D194A2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BA.4, BA.5</a:t>
            </a:r>
            <a:br>
              <a:rPr lang="cs-CZ" dirty="0"/>
            </a:br>
            <a:r>
              <a:rPr lang="en-US" sz="2000" dirty="0">
                <a:hlinkClick r:id="rId2"/>
              </a:rPr>
              <a:t>SARS-CoV-2 variants of concern and variants under investigation (publishing.service.gov.uk)</a:t>
            </a:r>
            <a:endParaRPr lang="cs-CZ" sz="2000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2E0BC61-0B07-477A-9892-D0A8BEE33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4128" y="2215134"/>
            <a:ext cx="3881248" cy="4057650"/>
          </a:xfrm>
        </p:spPr>
        <p:txBody>
          <a:bodyPr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. dubna 2022 byly identifikovány dvě nové subvarianty – označeny jako BA.4 a BA.5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jstarší vzorek BA.4 v databázi GISAID pocházel z Jihoafrické republiky s datem odběru 10. ledna 2022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ýskyt (GISAID) Jihoafrická republika (41), Dánsko (3), Botswana (2), Anglie (1) a Skotsko (1)</a:t>
            </a:r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4BA7FEA8-9F95-4698-9AB6-D80BF2A19B3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181148" y="1957959"/>
            <a:ext cx="6748754" cy="4314825"/>
          </a:xfrm>
        </p:spPr>
      </p:pic>
    </p:spTree>
    <p:extLst>
      <p:ext uri="{BB962C8B-B14F-4D97-AF65-F5344CB8AC3E}">
        <p14:creationId xmlns:p14="http://schemas.microsoft.com/office/powerpoint/2010/main" val="33683727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B966F64-313E-49C4-BEE7-1A07564BC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ekombinantní Varianty XE a XD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63D4940-F3D9-441D-88FB-3B9E5762AC2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cs-CZ" sz="3200" b="1" dirty="0"/>
              <a:t>XE</a:t>
            </a:r>
          </a:p>
          <a:p>
            <a:r>
              <a:rPr lang="cs-CZ" dirty="0"/>
              <a:t>Rekombinantní varianta BA.1 a BA.2</a:t>
            </a:r>
          </a:p>
          <a:p>
            <a:r>
              <a:rPr lang="cs-CZ" dirty="0"/>
              <a:t>K 5. dubnu více než 1 000 případů – výskyt zejména ve Velké Británii (primárně Anglie) </a:t>
            </a:r>
          </a:p>
          <a:p>
            <a:r>
              <a:rPr lang="cs-CZ" dirty="0"/>
              <a:t>Zaznamenám výskyt v ČR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363923A-CD8E-4FD4-A224-C8D4CDA187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12995" y="2297049"/>
            <a:ext cx="4754880" cy="4023360"/>
          </a:xfrm>
        </p:spPr>
        <p:txBody>
          <a:bodyPr/>
          <a:lstStyle/>
          <a:p>
            <a:r>
              <a:rPr lang="cs-CZ" sz="3200" b="1" dirty="0"/>
              <a:t>XD</a:t>
            </a:r>
          </a:p>
          <a:p>
            <a:r>
              <a:rPr lang="cs-CZ" dirty="0"/>
              <a:t>Rekombinantní  varianta Delta a BA.1</a:t>
            </a:r>
          </a:p>
          <a:p>
            <a:r>
              <a:rPr lang="cs-CZ" dirty="0"/>
              <a:t>První výskyt Francie</a:t>
            </a:r>
          </a:p>
          <a:p>
            <a:r>
              <a:rPr lang="cs-CZ" dirty="0"/>
              <a:t>Dále v Dánsku, Nizozemsku, Německu a Belgii. </a:t>
            </a:r>
          </a:p>
          <a:p>
            <a:r>
              <a:rPr lang="cs-CZ" dirty="0"/>
              <a:t>V databázi GISAID je uveřejněno 26 potvrzených </a:t>
            </a:r>
            <a:r>
              <a:rPr lang="cs-CZ" dirty="0" err="1"/>
              <a:t>sekvenací</a:t>
            </a:r>
            <a:r>
              <a:rPr lang="cs-CZ" dirty="0"/>
              <a:t> XD.</a:t>
            </a:r>
          </a:p>
        </p:txBody>
      </p:sp>
    </p:spTree>
    <p:extLst>
      <p:ext uri="{BB962C8B-B14F-4D97-AF65-F5344CB8AC3E}">
        <p14:creationId xmlns:p14="http://schemas.microsoft.com/office/powerpoint/2010/main" val="32924229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E45871-81A1-4678-9FD8-047359DAA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ozložení variant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CB97937-656D-4EA0-AF05-A5DBBAC949F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cs-CZ" sz="3200" b="1" dirty="0"/>
              <a:t>EU/EEA</a:t>
            </a:r>
          </a:p>
          <a:p>
            <a:endParaRPr lang="cs-CZ" sz="3200" b="1" dirty="0"/>
          </a:p>
          <a:p>
            <a:r>
              <a:rPr lang="cs-CZ" dirty="0"/>
              <a:t>BA.1 - </a:t>
            </a:r>
            <a:r>
              <a:rPr lang="en-US" dirty="0"/>
              <a:t>17.1% (1.0–44.2%) </a:t>
            </a:r>
            <a:endParaRPr lang="cs-CZ" dirty="0"/>
          </a:p>
          <a:p>
            <a:r>
              <a:rPr lang="cs-CZ" b="1" dirty="0">
                <a:solidFill>
                  <a:srgbClr val="FF0000"/>
                </a:solidFill>
              </a:rPr>
              <a:t>BA.2 - </a:t>
            </a:r>
            <a:r>
              <a:rPr lang="en-US" b="1" dirty="0">
                <a:solidFill>
                  <a:srgbClr val="FF0000"/>
                </a:solidFill>
              </a:rPr>
              <a:t>82.7% (55.8–98.9%) </a:t>
            </a:r>
            <a:endParaRPr lang="cs-CZ" b="1" dirty="0">
              <a:solidFill>
                <a:srgbClr val="FF0000"/>
              </a:solidFill>
            </a:endParaRPr>
          </a:p>
          <a:p>
            <a:r>
              <a:rPr lang="cs-CZ" dirty="0"/>
              <a:t>BA.3 - </a:t>
            </a:r>
            <a:r>
              <a:rPr lang="en-US" dirty="0"/>
              <a:t>0.2% (0.0–0.2</a:t>
            </a:r>
            <a:r>
              <a:rPr lang="cs-CZ" dirty="0"/>
              <a:t>%</a:t>
            </a:r>
            <a:r>
              <a:rPr lang="en-US" dirty="0"/>
              <a:t>)</a:t>
            </a: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73461CBB-9D9A-4B1F-BF85-D61D7AAEDAD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978873" y="390525"/>
            <a:ext cx="5942833" cy="5991225"/>
          </a:xfrm>
        </p:spPr>
      </p:pic>
    </p:spTree>
    <p:extLst>
      <p:ext uri="{BB962C8B-B14F-4D97-AF65-F5344CB8AC3E}">
        <p14:creationId xmlns:p14="http://schemas.microsoft.com/office/powerpoint/2010/main" val="229531298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9826" y="2220133"/>
            <a:ext cx="11292348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KUJI ZA POZORNOST </a:t>
            </a:r>
            <a:endParaRPr kumimoji="0" lang="en-US" sz="9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539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176130"/>
              </p:ext>
            </p:extLst>
          </p:nvPr>
        </p:nvGraphicFramePr>
        <p:xfrm>
          <a:off x="1311607" y="1525110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02442" y="781929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les zátěže je patrný ve všech věkových skupinách dospělých.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1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914030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9A40CF8-8C49-4607-9E05-0F423529C68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02442" y="71455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les zátěže je patrný ve všech věkových skupinách dětí a mladistvých.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10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B936A600-03F6-41C6-B71C-0F18D9717F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419" y="2172050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14628" y="375219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6054090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22" name="TextovéPole 25">
            <a:extLst>
              <a:ext uri="{FF2B5EF4-FFF2-40B4-BE49-F238E27FC236}">
                <a16:creationId xmlns:a16="http://schemas.microsoft.com/office/drawing/2014/main" id="{FA8D0941-D842-4560-9B0D-7D37319DDC3B}"/>
              </a:ext>
            </a:extLst>
          </p:cNvPr>
          <p:cNvSpPr txBox="1"/>
          <p:nvPr/>
        </p:nvSpPr>
        <p:spPr>
          <a:xfrm>
            <a:off x="338328" y="1428086"/>
            <a:ext cx="4869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339410D1-6402-42CF-8410-02673F354A9F}"/>
              </a:ext>
            </a:extLst>
          </p:cNvPr>
          <p:cNvCxnSpPr/>
          <p:nvPr/>
        </p:nvCxnSpPr>
        <p:spPr>
          <a:xfrm>
            <a:off x="5641449" y="1294480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4F5966C3-E48B-449D-B23A-3D7D0C336AD2}"/>
              </a:ext>
            </a:extLst>
          </p:cNvPr>
          <p:cNvSpPr txBox="1"/>
          <p:nvPr/>
        </p:nvSpPr>
        <p:spPr>
          <a:xfrm>
            <a:off x="6172672" y="1132016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(simulace)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4DA9903-4313-45C3-965F-4696F2D5D194}"/>
              </a:ext>
            </a:extLst>
          </p:cNvPr>
          <p:cNvSpPr txBox="1"/>
          <p:nvPr/>
        </p:nvSpPr>
        <p:spPr>
          <a:xfrm>
            <a:off x="338328" y="957028"/>
            <a:ext cx="5425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ud pozorovaná reálná data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 dny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79159035-E621-4274-9BEE-603E02F9CB22}"/>
              </a:ext>
            </a:extLst>
          </p:cNvPr>
          <p:cNvGraphicFramePr>
            <a:graphicFrameLocks noGrp="1"/>
          </p:cNvGraphicFramePr>
          <p:nvPr/>
        </p:nvGraphicFramePr>
        <p:xfrm>
          <a:off x="206492" y="5457290"/>
          <a:ext cx="773891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67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148378157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3981597030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2471926991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3338665376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2639334207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3601740011"/>
                    </a:ext>
                  </a:extLst>
                </a:gridCol>
                <a:gridCol w="825155">
                  <a:extLst>
                    <a:ext uri="{9D8B030D-6E8A-4147-A177-3AD203B41FA5}">
                      <a16:colId xmlns:a16="http://schemas.microsoft.com/office/drawing/2014/main" val="1973423916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ez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 00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 00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400 00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00 00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00 00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13" name="TextovéPole 19">
            <a:extLst>
              <a:ext uri="{FF2B5EF4-FFF2-40B4-BE49-F238E27FC236}">
                <a16:creationId xmlns:a16="http://schemas.microsoft.com/office/drawing/2014/main" id="{8FFF33B6-F7F9-4A2A-A022-A3BA4F5E9A6E}"/>
              </a:ext>
            </a:extLst>
          </p:cNvPr>
          <p:cNvSpPr txBox="1"/>
          <p:nvPr/>
        </p:nvSpPr>
        <p:spPr>
          <a:xfrm>
            <a:off x="167014" y="265959"/>
            <a:ext cx="11796603" cy="400110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kalkulující se všemi rizikovými parametry Omikronu</a:t>
            </a:r>
          </a:p>
        </p:txBody>
      </p:sp>
      <p:sp>
        <p:nvSpPr>
          <p:cNvPr id="15" name="Podnadpis 2">
            <a:extLst>
              <a:ext uri="{FF2B5EF4-FFF2-40B4-BE49-F238E27FC236}">
                <a16:creationId xmlns:a16="http://schemas.microsoft.com/office/drawing/2014/main" id="{E5E9B4BE-CB4B-4BD0-8A83-778C14DC6718}"/>
              </a:ext>
            </a:extLst>
          </p:cNvPr>
          <p:cNvSpPr txBox="1">
            <a:spLocks/>
          </p:cNvSpPr>
          <p:nvPr/>
        </p:nvSpPr>
        <p:spPr>
          <a:xfrm>
            <a:off x="8193204" y="1239522"/>
            <a:ext cx="3831783" cy="53525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téměř 200%, spojeno s předpokladem počtu rizikových kontaktů v populaci bez redukce. Vstupy modelu kalkulují se schopností viru unikat vakcinaci a prolamovat post-infekční imunitu. Výstup simuluje maximální rizikový potenciál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 hlediska nakažlivosti. Průběh vlny byl velmi rychlý. Od druhé poloviny ledna bylo uvažováno snížení rychlosti šíření viru (dopad plošného testování apod.), s dopadem na postupné zpomalování epidemie, v březnu již i s pomalým nastupujícím efektem sezónního poklesu.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6D11B39F-4206-426C-82AE-DEA2F2EFECFC}"/>
              </a:ext>
            </a:extLst>
          </p:cNvPr>
          <p:cNvSpPr txBox="1"/>
          <p:nvPr/>
        </p:nvSpPr>
        <p:spPr>
          <a:xfrm>
            <a:off x="5532894" y="2590487"/>
            <a:ext cx="23048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stavení poklesu zátěže v březnu: důsledek šíření nakažlivých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varian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mikronu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096EE10-BCD3-42AD-A38C-2A85E42B9DD5}"/>
              </a:ext>
            </a:extLst>
          </p:cNvPr>
          <p:cNvCxnSpPr>
            <a:cxnSpLocks/>
            <a:stCxn id="18" idx="2"/>
          </p:cNvCxnSpPr>
          <p:nvPr/>
        </p:nvCxnSpPr>
        <p:spPr>
          <a:xfrm flipH="1">
            <a:off x="6462793" y="3667705"/>
            <a:ext cx="222512" cy="73381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927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Reinfekce od 1.1.2021: denní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14241" y="1874172"/>
            <a:ext cx="2392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reinfekcí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5375588"/>
              </p:ext>
            </p:extLst>
          </p:nvPr>
        </p:nvGraphicFramePr>
        <p:xfrm>
          <a:off x="561973" y="927115"/>
          <a:ext cx="11377929" cy="266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F2F30761-04A3-420D-862F-AD03D34803D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81757" y="6574393"/>
            <a:ext cx="31550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8DF8889-6BE5-4948-B35B-476C07888890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03841982"/>
              </p:ext>
            </p:extLst>
          </p:nvPr>
        </p:nvGraphicFramePr>
        <p:xfrm>
          <a:off x="561973" y="3699237"/>
          <a:ext cx="11377929" cy="266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" name="TextBox 26">
            <a:extLst>
              <a:ext uri="{FF2B5EF4-FFF2-40B4-BE49-F238E27FC236}">
                <a16:creationId xmlns:a16="http://schemas.microsoft.com/office/drawing/2014/main" id="{610F2986-DDB9-4258-A5E7-AC7A516C3ED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851280" y="4286666"/>
            <a:ext cx="2392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nto reinfekcí ze všech nových případů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CBE36F1F-300E-4C03-AF01-43B0529A809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797803" y="679035"/>
            <a:ext cx="8602022" cy="13982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nakažlivost varianty Omikron a její schopnost prolamovat post-infekční imunitu se promítla do významně zvýšeného počtu a podílu reinfekcí. Počet reinfekcí v současnosti neroste, jejich podíl se ustálil na 16% celkového počtu nových případů nákazy. </a:t>
            </a:r>
          </a:p>
        </p:txBody>
      </p:sp>
    </p:spTree>
    <p:extLst>
      <p:ext uri="{BB962C8B-B14F-4D97-AF65-F5344CB8AC3E}">
        <p14:creationId xmlns:p14="http://schemas.microsoft.com/office/powerpoint/2010/main" val="2905816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cs-CZ" dirty="0"/>
              <a:t>13. 4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89288" y="1189205"/>
            <a:ext cx="366000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ční zátěž dlouhodoběji klesá ve všech krajích, reprodukční číslo se dlouhodobě drží v intervalu 0,7 až 0,9 ve všech regionech. 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6381768"/>
              </p:ext>
            </p:extLst>
          </p:nvPr>
        </p:nvGraphicFramePr>
        <p:xfrm>
          <a:off x="42712" y="561594"/>
          <a:ext cx="8203504" cy="62586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76660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65794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930525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930525">
                  <a:extLst>
                    <a:ext uri="{9D8B030D-6E8A-4147-A177-3AD203B41FA5}">
                      <a16:colId xmlns:a16="http://schemas.microsoft.com/office/drawing/2014/main" val="1228351108"/>
                    </a:ext>
                  </a:extLst>
                </a:gridCol>
              </a:tblGrid>
              <a:tr h="13304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</a:t>
                      </a: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čet nových případů na 100 tis. obyv.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</a:t>
                      </a: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čet nových případů na 100 tis. obyv.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</a:t>
                      </a: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elativní pozitivita indikovaných (Dg/Epi) testů v % *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3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5.5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7 % / 13.7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8.6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75.0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3 % / 16.0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8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4.4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1 % / 15.9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1.9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2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6 % / 19.3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4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1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5 % / 14.2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7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2.7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7 % / 12.8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5.1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6.8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6 % / 16.9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3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8.1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9 % / 17.6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8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8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0 % / 16.0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3.3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4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5 % / 16.6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9.9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0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0 % / 14.9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8.4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3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3 % / 16.5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4.7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0.0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0 % / 13.4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3.2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6.1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5 % / 11.8 %</a:t>
                      </a:r>
                      <a:endParaRPr lang="cs-CZ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  <a:tr h="1530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.5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9.6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7 % / 15.4 %</a:t>
                      </a:r>
                      <a:endParaRPr lang="cs-CZ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686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Integrá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36804403_TF22378848.potx" id="{88F210FF-C011-4EFE-AA85-1D02D2B94E9C}" vid="{290BA762-FB75-486E-97D2-52521D19DF9B}"/>
    </a:ext>
  </a:extLst>
</a:theme>
</file>

<file path=ppt/theme/theme1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8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36</TotalTime>
  <Words>4497</Words>
  <Application>Microsoft Office PowerPoint</Application>
  <PresentationFormat>Širokoúhlá obrazovka</PresentationFormat>
  <Paragraphs>649</Paragraphs>
  <Slides>47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8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47</vt:i4>
      </vt:variant>
    </vt:vector>
  </HeadingPairs>
  <TitlesOfParts>
    <vt:vector size="65" baseType="lpstr">
      <vt:lpstr>Calibri</vt:lpstr>
      <vt:lpstr>Wingdings 3</vt:lpstr>
      <vt:lpstr>Tw Cen MT</vt:lpstr>
      <vt:lpstr>Arial (Základní text)</vt:lpstr>
      <vt:lpstr>Arial</vt:lpstr>
      <vt:lpstr>Tw Cen MT Condensed</vt:lpstr>
      <vt:lpstr>Times New Roman</vt:lpstr>
      <vt:lpstr>Calibri Light</vt:lpstr>
      <vt:lpstr>1_Motiv Office</vt:lpstr>
      <vt:lpstr>3_Motiv Office</vt:lpstr>
      <vt:lpstr>7_Motiv Office</vt:lpstr>
      <vt:lpstr>12_Motiv Office</vt:lpstr>
      <vt:lpstr>2_Motiv Office</vt:lpstr>
      <vt:lpstr>Motiv Office</vt:lpstr>
      <vt:lpstr>6_Motiv Office</vt:lpstr>
      <vt:lpstr>8_Motiv Office</vt:lpstr>
      <vt:lpstr>4_Motiv Office</vt:lpstr>
      <vt:lpstr>Integrál</vt:lpstr>
      <vt:lpstr>Datová a informační základna  pro management pandemie COVID-19</vt:lpstr>
      <vt:lpstr>Datová a informační základna  pro management pandemie COVID-19</vt:lpstr>
      <vt:lpstr>Prezentace aplikace PowerPoint</vt:lpstr>
      <vt:lpstr>7denní hodnoty na 100 tisíc obyvatel: krátkodobá projekce vývoje </vt:lpstr>
      <vt:lpstr>Počty COVID-19 pozitivních v ČR na 100 000 v populaci</vt:lpstr>
      <vt:lpstr>Počty COVID-19 pozitivních v ČR na 100 000 v populaci</vt:lpstr>
      <vt:lpstr>Prezentace aplikace PowerPoint</vt:lpstr>
      <vt:lpstr>Reinfekce od 1.1.2021: denní data</vt:lpstr>
      <vt:lpstr>Zátěž regionů ve vzájemném srovnání krajů k 13. 4.</vt:lpstr>
      <vt:lpstr>7 denní počet nových případů (na 100 000 obyv.) v okresech</vt:lpstr>
      <vt:lpstr>Počty realizovaných PCR testů v čase </vt:lpstr>
      <vt:lpstr>Podíl pozitivních testů: diagnostické indikace </vt:lpstr>
      <vt:lpstr>Podíl pozitivních testů: epidemiologické indikace</vt:lpstr>
      <vt:lpstr>Datová a informační základna  pro management pandemie COVID-19</vt:lpstr>
      <vt:lpstr>Počty pracovníků ve zdravotnictví s nákazou COVID-19</vt:lpstr>
      <vt:lpstr>Počty nově COVID-19 pozitivních pracovníků  v zařízeních sociálních služeb</vt:lpstr>
      <vt:lpstr>Datová a informační základna  pro management pandemie COVID-19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Časový vývoj vybraných ukazatelů: relativní pozitivita indikovaných testů ve věku 65+</vt:lpstr>
      <vt:lpstr>Časový vývoj vybraných ukazatelů: 7denní počet symptomatických případů na 100 000 obyv.</vt:lpstr>
      <vt:lpstr>Časový vývoj vybraných ukazatelů:  7denní počet nových příjmů na JIP (včetně překladů) na 100 000 obyvatel</vt:lpstr>
      <vt:lpstr>7denní počet případů, hospitalizovaných na JIP v den pozitivity / 100 tisíc obyvatel</vt:lpstr>
      <vt:lpstr>Datová a informační základna  pro management pandemie COVID-19</vt:lpstr>
      <vt:lpstr>Vývoj 14denního kumulativního počtu potvrzených případů onemocnění ve vybraných evropských zemích</vt:lpstr>
      <vt:lpstr>Vývoj podílu potvrzených případů z počtu provedených testů ve vybraných evropských zemích</vt:lpstr>
      <vt:lpstr>Německo</vt:lpstr>
      <vt:lpstr>Německo ZDROJ: ROBERT Koch Institute</vt:lpstr>
      <vt:lpstr>Rakousko</vt:lpstr>
      <vt:lpstr>Rakousko ZDROJ: AGES DASHBOARD </vt:lpstr>
      <vt:lpstr>Slovensko</vt:lpstr>
      <vt:lpstr>BA.4, BA.5 SARS-CoV-2 variants of concern and variants under investigation (publishing.service.gov.uk)</vt:lpstr>
      <vt:lpstr>rekombinantní Varianty XE a XD </vt:lpstr>
      <vt:lpstr>Rozložení varia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3410</cp:revision>
  <dcterms:created xsi:type="dcterms:W3CDTF">2020-11-11T17:36:28Z</dcterms:created>
  <dcterms:modified xsi:type="dcterms:W3CDTF">2022-04-13T07:16:44Z</dcterms:modified>
</cp:coreProperties>
</file>